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drawings/drawing2.xml" ContentType="application/vnd.openxmlformats-officedocument.drawingml.chartshape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18"/>
  </p:notesMasterIdLst>
  <p:handoutMasterIdLst>
    <p:handoutMasterId r:id="rId19"/>
  </p:handoutMasterIdLst>
  <p:sldIdLst>
    <p:sldId id="324" r:id="rId4"/>
    <p:sldId id="319" r:id="rId5"/>
    <p:sldId id="310" r:id="rId6"/>
    <p:sldId id="329" r:id="rId7"/>
    <p:sldId id="311" r:id="rId8"/>
    <p:sldId id="333" r:id="rId9"/>
    <p:sldId id="320" r:id="rId10"/>
    <p:sldId id="321" r:id="rId11"/>
    <p:sldId id="334" r:id="rId12"/>
    <p:sldId id="339" r:id="rId13"/>
    <p:sldId id="330" r:id="rId14"/>
    <p:sldId id="335" r:id="rId15"/>
    <p:sldId id="338" r:id="rId16"/>
    <p:sldId id="327" r:id="rId17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29"/>
            <p14:sldId id="311"/>
            <p14:sldId id="333"/>
            <p14:sldId id="320"/>
            <p14:sldId id="321"/>
            <p14:sldId id="334"/>
            <p14:sldId id="339"/>
            <p14:sldId id="330"/>
            <p14:sldId id="335"/>
            <p14:sldId id="338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orient="horz" pos="36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stelli Chiara" initials="CC" lastIdx="1" clrIdx="0">
    <p:extLst>
      <p:ext uri="{19B8F6BF-5375-455C-9EA6-DF929625EA0E}">
        <p15:presenceInfo xmlns:p15="http://schemas.microsoft.com/office/powerpoint/2012/main" userId="S-1-5-21-417365229-399659180-1714775081-44684" providerId="AD"/>
      </p:ext>
    </p:extLst>
  </p:cmAuthor>
  <p:cmAuthor id="2" name="Sacchi Matteo" initials="SM" lastIdx="1" clrIdx="1">
    <p:extLst>
      <p:ext uri="{19B8F6BF-5375-455C-9EA6-DF929625EA0E}">
        <p15:presenceInfo xmlns:p15="http://schemas.microsoft.com/office/powerpoint/2012/main" userId="S-1-5-21-417365229-399659180-1714775081-1849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DD43"/>
    <a:srgbClr val="FFCB25"/>
    <a:srgbClr val="44548C"/>
    <a:srgbClr val="2777F9"/>
    <a:srgbClr val="92D050"/>
    <a:srgbClr val="FFC000"/>
    <a:srgbClr val="F3F672"/>
    <a:srgbClr val="2FB0F1"/>
    <a:srgbClr val="FAF02A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62" autoAdjust="0"/>
    <p:restoredTop sz="99343" autoAdjust="0"/>
  </p:normalViewPr>
  <p:slideViewPr>
    <p:cSldViewPr snapToGrid="0" snapToObjects="1">
      <p:cViewPr varScale="1">
        <p:scale>
          <a:sx n="71" d="100"/>
          <a:sy n="71" d="100"/>
        </p:scale>
        <p:origin x="894" y="54"/>
      </p:cViewPr>
      <p:guideLst>
        <p:guide orient="horz" pos="2115"/>
        <p:guide pos="3817"/>
        <p:guide orient="horz" pos="36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204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8.%20Agosto%202018\File%20di%20Lavoro\10_Tavole%20per%20Insigt%20-%20Agosto%202018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8.%20Agosto%202018\File%20di%20Lavoro\11_Grafico%20Settore%20merceologico%20-%20Mensile%20e%20Progressivo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8.%20Agosto%202018\File%20di%20Lavoro\11_Grafico%20Settore%20merceologico%20-%20Mensile%20e%20Progressivo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8.%20Agosto%202018\File%20di%20Lavoro\10_Tavole%20per%20Insigt%20-%20Agosto%202018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8.%20Agosto%202018\File%20di%20Lavoro\10_Tavole%20per%20Insigt%20-%20Agosto%202018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8.%20Agosto%202018\File%20di%20Lavoro\10_Tavole%20per%20Insigt%20-%20Agosto%202018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8.%20Agosto%202018\File%20di%20Lavoro\10_Tavole%20per%20Insigt%20-%20Agosto%202018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8\07.%20Luglio%202018\File%20di%20Lavoro\09_Grafici%20Video%20e%20Modalit&#224;%20di%20Vendita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m.sacchi\Documents\Clienti%20-%20FCP\AssoInternet\2018\03.%20Marzo%202018\File%20di%20Lavoro\09_Grafici%20Video%20e%20Modalit&#224;%20di%20Vendi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it-IT" b="1" dirty="0"/>
              <a:t>Peso % di ciascun Device</a:t>
            </a:r>
          </a:p>
        </c:rich>
      </c:tx>
      <c:layout>
        <c:manualLayout>
          <c:xMode val="edge"/>
          <c:yMode val="edge"/>
          <c:x val="0.17309716206606762"/>
          <c:y val="4.5363461339257968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4.0137622916083061E-2"/>
          <c:y val="0.11386228796153752"/>
          <c:w val="0.91972475416783384"/>
          <c:h val="0.6818060372694768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2!$B$11</c:f>
              <c:strCache>
                <c:ptCount val="1"/>
                <c:pt idx="0">
                  <c:v>Desktop/Tablet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08BB9BE0-6B92-4AB7-B184-669F920E73CD}" type="VALUE">
                      <a:rPr lang="en-US" sz="1000" b="1"/>
                      <a:pPr/>
                      <a:t>[VALOR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D3ED09D5-D519-4071-AFB2-900ECCB8C606}" type="VALUE">
                      <a:rPr lang="en-US" sz="1000" b="1"/>
                      <a:pPr/>
                      <a:t>[VALOR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A$12:$A$13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2!$B$12:$B$13</c:f>
              <c:numCache>
                <c:formatCode>0.00%</c:formatCode>
                <c:ptCount val="2"/>
                <c:pt idx="0">
                  <c:v>0.71735362571137795</c:v>
                </c:pt>
                <c:pt idx="1">
                  <c:v>0.76738688035258595</c:v>
                </c:pt>
              </c:numCache>
            </c:numRef>
          </c:val>
        </c:ser>
        <c:ser>
          <c:idx val="1"/>
          <c:order val="1"/>
          <c:tx>
            <c:strRef>
              <c:f>Foglio2!$C$11</c:f>
              <c:strCache>
                <c:ptCount val="1"/>
                <c:pt idx="0">
                  <c:v>Smart T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glio2!$A$12:$A$13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2!$C$12:$C$13</c:f>
              <c:numCache>
                <c:formatCode>0.00%</c:formatCode>
                <c:ptCount val="2"/>
                <c:pt idx="0">
                  <c:v>8.1075689489553413E-4</c:v>
                </c:pt>
                <c:pt idx="1">
                  <c:v>3.3936374436014825E-4</c:v>
                </c:pt>
              </c:numCache>
            </c:numRef>
          </c:val>
        </c:ser>
        <c:ser>
          <c:idx val="2"/>
          <c:order val="2"/>
          <c:tx>
            <c:strRef>
              <c:f>Foglio2!$D$11</c:f>
              <c:strCache>
                <c:ptCount val="1"/>
                <c:pt idx="0">
                  <c:v>Smartphone</c:v>
                </c:pt>
              </c:strCache>
            </c:strRef>
          </c:tx>
          <c:spPr>
            <a:solidFill>
              <a:srgbClr val="6BDD43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0EFEC5CD-7492-4F5C-96CC-8D97F61FF06A}" type="VALUE">
                      <a:rPr lang="en-US" sz="1000" b="1"/>
                      <a:pPr/>
                      <a:t>[VALOR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480A555E-6A09-4169-8378-71A2EC0EC03D}" type="VALUE">
                      <a:rPr lang="en-US" sz="1000" b="1"/>
                      <a:pPr/>
                      <a:t>[VALOR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A$12:$A$13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2!$D$12:$D$13</c:f>
              <c:numCache>
                <c:formatCode>0.00%</c:formatCode>
                <c:ptCount val="2"/>
                <c:pt idx="0">
                  <c:v>0.28183561739372637</c:v>
                </c:pt>
                <c:pt idx="1">
                  <c:v>0.232273755903053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2899528"/>
        <c:axId val="142899920"/>
      </c:barChart>
      <c:catAx>
        <c:axId val="142899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2899920"/>
        <c:crosses val="autoZero"/>
        <c:auto val="1"/>
        <c:lblAlgn val="ctr"/>
        <c:lblOffset val="100"/>
        <c:noMultiLvlLbl val="0"/>
      </c:catAx>
      <c:valAx>
        <c:axId val="14289992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42899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29434374924144E-2"/>
          <c:y val="7.4551396243061008E-2"/>
          <c:w val="0.93587238585883592"/>
          <c:h val="0.47436151664975784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Grafico MENSILE'!$H$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Grafico MENSILE'!$A$3:$F$29</c:f>
              <c:multiLvlStrCache>
                <c:ptCount val="27"/>
                <c:lvl>
                  <c:pt idx="0">
                    <c:v>Varie</c:v>
                  </c:pt>
                  <c:pt idx="1">
                    <c:v>Media/Editoria</c:v>
                  </c:pt>
                  <c:pt idx="2">
                    <c:v>Automobili</c:v>
                  </c:pt>
                  <c:pt idx="3">
                    <c:v>Servizi Professionali</c:v>
                  </c:pt>
                  <c:pt idx="4">
                    <c:v>Finanza/Assicurazioni</c:v>
                  </c:pt>
                  <c:pt idx="5">
                    <c:v>Distribuzione</c:v>
                  </c:pt>
                  <c:pt idx="6">
                    <c:v>Telecomunicazioni</c:v>
                  </c:pt>
                  <c:pt idx="7">
                    <c:v>Locale</c:v>
                  </c:pt>
                  <c:pt idx="8">
                    <c:v>Alimentari</c:v>
                  </c:pt>
                  <c:pt idx="9">
                    <c:v>Tempo libero</c:v>
                  </c:pt>
                  <c:pt idx="10">
                    <c:v>Bevande/Alcoolici</c:v>
                  </c:pt>
                  <c:pt idx="11">
                    <c:v>Abbigliamento</c:v>
                  </c:pt>
                  <c:pt idx="12">
                    <c:v>Turismo/Viaggi</c:v>
                  </c:pt>
                  <c:pt idx="13">
                    <c:v>Industria/Edilizia/Attività</c:v>
                  </c:pt>
                  <c:pt idx="14">
                    <c:v>Informatica/Fotografia</c:v>
                  </c:pt>
                  <c:pt idx="15">
                    <c:v>Cura persona</c:v>
                  </c:pt>
                  <c:pt idx="16">
                    <c:v>Farmaceutici/Sanitari</c:v>
                  </c:pt>
                  <c:pt idx="17">
                    <c:v>Enti/Istituzioni</c:v>
                  </c:pt>
                  <c:pt idx="18">
                    <c:v>Abitazione</c:v>
                  </c:pt>
                  <c:pt idx="19">
                    <c:v>Oggetti personali</c:v>
                  </c:pt>
                  <c:pt idx="20">
                    <c:v>Giochi/Articoli scolastici</c:v>
                  </c:pt>
                  <c:pt idx="21">
                    <c:v>Gestione casa</c:v>
                  </c:pt>
                  <c:pt idx="22">
                    <c:v>Elettrodomestici</c:v>
                  </c:pt>
                  <c:pt idx="23">
                    <c:v>Di Servizio</c:v>
                  </c:pt>
                  <c:pt idx="24">
                    <c:v>Toiletries</c:v>
                  </c:pt>
                  <c:pt idx="25">
                    <c:v>Moto/Veicoli</c:v>
                  </c:pt>
                  <c:pt idx="26">
                    <c:v>Rubricata</c:v>
                  </c:pt>
                </c:lvl>
                <c:lvl>
                  <c:pt idx="0">
                    <c:v>2%</c:v>
                  </c:pt>
                  <c:pt idx="1">
                    <c:v>1%</c:v>
                  </c:pt>
                  <c:pt idx="2">
                    <c:v>4%</c:v>
                  </c:pt>
                  <c:pt idx="3">
                    <c:v>12%</c:v>
                  </c:pt>
                  <c:pt idx="4">
                    <c:v>2%</c:v>
                  </c:pt>
                  <c:pt idx="5">
                    <c:v>2%</c:v>
                  </c:pt>
                  <c:pt idx="6">
                    <c:v>5%</c:v>
                  </c:pt>
                  <c:pt idx="7">
                    <c:v>1%</c:v>
                  </c:pt>
                  <c:pt idx="8">
                    <c:v>2%</c:v>
                  </c:pt>
                  <c:pt idx="9">
                    <c:v>2%</c:v>
                  </c:pt>
                  <c:pt idx="10">
                    <c:v>5%</c:v>
                  </c:pt>
                  <c:pt idx="11">
                    <c:v>1%</c:v>
                  </c:pt>
                  <c:pt idx="12">
                    <c:v>1%</c:v>
                  </c:pt>
                  <c:pt idx="13">
                    <c:v>2%</c:v>
                  </c:pt>
                  <c:pt idx="14">
                    <c:v>2%</c:v>
                  </c:pt>
                  <c:pt idx="15">
                    <c:v>14%</c:v>
                  </c:pt>
                  <c:pt idx="16">
                    <c:v>0%</c:v>
                  </c:pt>
                  <c:pt idx="17">
                    <c:v>1%</c:v>
                  </c:pt>
                  <c:pt idx="18">
                    <c:v>7%</c:v>
                  </c:pt>
                  <c:pt idx="19">
                    <c:v>5%</c:v>
                  </c:pt>
                  <c:pt idx="20">
                    <c:v>4%</c:v>
                  </c:pt>
                  <c:pt idx="21">
                    <c:v>0%</c:v>
                  </c:pt>
                  <c:pt idx="22">
                    <c:v>2%</c:v>
                  </c:pt>
                  <c:pt idx="23">
                    <c:v>19%</c:v>
                  </c:pt>
                  <c:pt idx="24">
                    <c:v>4%</c:v>
                  </c:pt>
                  <c:pt idx="25">
                    <c:v>0%</c:v>
                  </c:pt>
                  <c:pt idx="26">
                    <c:v>1%</c:v>
                  </c:pt>
                </c:lvl>
                <c:lvl>
                  <c:pt idx="0">
                    <c:v>2%</c:v>
                  </c:pt>
                  <c:pt idx="1">
                    <c:v>1%</c:v>
                  </c:pt>
                  <c:pt idx="2">
                    <c:v>4%</c:v>
                  </c:pt>
                  <c:pt idx="3">
                    <c:v>15%</c:v>
                  </c:pt>
                  <c:pt idx="4">
                    <c:v>2%</c:v>
                  </c:pt>
                  <c:pt idx="5">
                    <c:v>2%</c:v>
                  </c:pt>
                  <c:pt idx="6">
                    <c:v>4%</c:v>
                  </c:pt>
                  <c:pt idx="7">
                    <c:v>1%</c:v>
                  </c:pt>
                  <c:pt idx="8">
                    <c:v>1%</c:v>
                  </c:pt>
                  <c:pt idx="9">
                    <c:v>2%</c:v>
                  </c:pt>
                  <c:pt idx="10">
                    <c:v>6%</c:v>
                  </c:pt>
                  <c:pt idx="11">
                    <c:v>2%</c:v>
                  </c:pt>
                  <c:pt idx="12">
                    <c:v>1%</c:v>
                  </c:pt>
                  <c:pt idx="13">
                    <c:v>3%</c:v>
                  </c:pt>
                  <c:pt idx="14">
                    <c:v>1%</c:v>
                  </c:pt>
                  <c:pt idx="15">
                    <c:v>18%</c:v>
                  </c:pt>
                  <c:pt idx="16">
                    <c:v>0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4%</c:v>
                  </c:pt>
                  <c:pt idx="20">
                    <c:v>3%</c:v>
                  </c:pt>
                  <c:pt idx="21">
                    <c:v>1%</c:v>
                  </c:pt>
                  <c:pt idx="22">
                    <c:v>1%</c:v>
                  </c:pt>
                  <c:pt idx="23">
                    <c:v>14%</c:v>
                  </c:pt>
                  <c:pt idx="24">
                    <c:v>5%</c:v>
                  </c:pt>
                  <c:pt idx="25">
                    <c:v>0%</c:v>
                  </c:pt>
                  <c:pt idx="26">
                    <c:v>0%</c:v>
                  </c:pt>
                </c:lvl>
                <c:lvl>
                  <c:pt idx="0">
                    <c:v>Abbigliamento</c:v>
                  </c:pt>
                  <c:pt idx="1">
                    <c:v>Abitazione</c:v>
                  </c:pt>
                  <c:pt idx="2">
                    <c:v>Alimentari</c:v>
                  </c:pt>
                  <c:pt idx="3">
                    <c:v>Automobili</c:v>
                  </c:pt>
                  <c:pt idx="4">
                    <c:v>Bevande/Alcoolici</c:v>
                  </c:pt>
                  <c:pt idx="5">
                    <c:v>Cura persona</c:v>
                  </c:pt>
                  <c:pt idx="6">
                    <c:v>Distribuzione</c:v>
                  </c:pt>
                  <c:pt idx="7">
                    <c:v>Elettrodomestici</c:v>
                  </c:pt>
                  <c:pt idx="8">
                    <c:v>Enti/Istituzioni</c:v>
                  </c:pt>
                  <c:pt idx="9">
                    <c:v>Farmaceutici/Sanitari</c:v>
                  </c:pt>
                  <c:pt idx="10">
                    <c:v>Finanza/Assicurazioni</c:v>
                  </c:pt>
                  <c:pt idx="11">
                    <c:v>Gestione casa</c:v>
                  </c:pt>
                  <c:pt idx="12">
                    <c:v>Giochi/Articoli scolastici</c:v>
                  </c:pt>
                  <c:pt idx="13">
                    <c:v>Industria/Edilizia/Attività</c:v>
                  </c:pt>
                  <c:pt idx="14">
                    <c:v>Informatica/Fotografia</c:v>
                  </c:pt>
                  <c:pt idx="15">
                    <c:v>Media/Editoria</c:v>
                  </c:pt>
                  <c:pt idx="16">
                    <c:v>Moto/Veicoli</c:v>
                  </c:pt>
                  <c:pt idx="17">
                    <c:v>Oggetti personali</c:v>
                  </c:pt>
                  <c:pt idx="18">
                    <c:v>Servizi Professionali</c:v>
                  </c:pt>
                  <c:pt idx="19">
                    <c:v>Telecomunicazioni</c:v>
                  </c:pt>
                  <c:pt idx="20">
                    <c:v>Tempo libero</c:v>
                  </c:pt>
                  <c:pt idx="21">
                    <c:v>Toiletries</c:v>
                  </c:pt>
                  <c:pt idx="22">
                    <c:v>Turismo/Viaggi</c:v>
                  </c:pt>
                  <c:pt idx="23">
                    <c:v>Varie</c:v>
                  </c:pt>
                  <c:pt idx="24">
                    <c:v>Locale</c:v>
                  </c:pt>
                  <c:pt idx="25">
                    <c:v>Rubricata</c:v>
                  </c:pt>
                  <c:pt idx="26">
                    <c:v>Di Servizio</c:v>
                  </c:pt>
                </c:lvl>
              </c:multiLvlStrCache>
            </c:multiLvlStrRef>
          </c:cat>
          <c:val>
            <c:numRef>
              <c:f>'Grafico MENSILE'!$H$3:$H$29</c:f>
              <c:numCache>
                <c:formatCode>0.0%</c:formatCode>
                <c:ptCount val="27"/>
                <c:pt idx="0">
                  <c:v>0.18638456958139787</c:v>
                </c:pt>
                <c:pt idx="1">
                  <c:v>0.14204927637568726</c:v>
                </c:pt>
                <c:pt idx="2">
                  <c:v>0.12339806835403713</c:v>
                </c:pt>
                <c:pt idx="3">
                  <c:v>7.3193021609962522E-2</c:v>
                </c:pt>
                <c:pt idx="4">
                  <c:v>5.1311638192019719E-2</c:v>
                </c:pt>
                <c:pt idx="5">
                  <c:v>4.9447005123161379E-2</c:v>
                </c:pt>
                <c:pt idx="6">
                  <c:v>4.9425314045290769E-2</c:v>
                </c:pt>
                <c:pt idx="7">
                  <c:v>4.0980146203374895E-2</c:v>
                </c:pt>
                <c:pt idx="8">
                  <c:v>3.7249026969957647E-2</c:v>
                </c:pt>
                <c:pt idx="9">
                  <c:v>3.6391205455655981E-2</c:v>
                </c:pt>
                <c:pt idx="10">
                  <c:v>2.2454758034569592E-2</c:v>
                </c:pt>
                <c:pt idx="11">
                  <c:v>2.1840996383659592E-2</c:v>
                </c:pt>
                <c:pt idx="12">
                  <c:v>2.0439255747264948E-2</c:v>
                </c:pt>
                <c:pt idx="13">
                  <c:v>2.0082450435133986E-2</c:v>
                </c:pt>
                <c:pt idx="14">
                  <c:v>2.0022653964152985E-2</c:v>
                </c:pt>
                <c:pt idx="15">
                  <c:v>1.8069470245164556E-2</c:v>
                </c:pt>
                <c:pt idx="16">
                  <c:v>1.6900034368786433E-2</c:v>
                </c:pt>
                <c:pt idx="17">
                  <c:v>1.506723735817405E-2</c:v>
                </c:pt>
                <c:pt idx="18">
                  <c:v>1.0540922024556365E-2</c:v>
                </c:pt>
                <c:pt idx="19">
                  <c:v>9.207373193192283E-3</c:v>
                </c:pt>
                <c:pt idx="20">
                  <c:v>8.3057254982665078E-3</c:v>
                </c:pt>
                <c:pt idx="21">
                  <c:v>7.8265272367407743E-3</c:v>
                </c:pt>
                <c:pt idx="22">
                  <c:v>7.370141848677101E-3</c:v>
                </c:pt>
                <c:pt idx="23">
                  <c:v>5.1511439721943931E-3</c:v>
                </c:pt>
                <c:pt idx="24">
                  <c:v>4.1540381283801178E-3</c:v>
                </c:pt>
                <c:pt idx="25">
                  <c:v>2.6756335586544605E-3</c:v>
                </c:pt>
                <c:pt idx="26">
                  <c:v>6.2366091887167545E-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00411632"/>
        <c:axId val="200412024"/>
      </c:barChart>
      <c:lineChart>
        <c:grouping val="standard"/>
        <c:varyColors val="0"/>
        <c:ser>
          <c:idx val="0"/>
          <c:order val="0"/>
          <c:tx>
            <c:strRef>
              <c:f>'Grafico MENSILE'!$G$2</c:f>
              <c:strCache>
                <c:ptCount val="1"/>
                <c:pt idx="0">
                  <c:v>2017</c:v>
                </c:pt>
              </c:strCache>
            </c:strRef>
          </c:tx>
          <c:spPr>
            <a:ln w="317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'Grafico MENSILE'!$F$3:$F$29</c:f>
              <c:strCache>
                <c:ptCount val="27"/>
                <c:pt idx="0">
                  <c:v>Varie</c:v>
                </c:pt>
                <c:pt idx="1">
                  <c:v>Media/Editoria</c:v>
                </c:pt>
                <c:pt idx="2">
                  <c:v>Automobili</c:v>
                </c:pt>
                <c:pt idx="3">
                  <c:v>Servizi Professionali</c:v>
                </c:pt>
                <c:pt idx="4">
                  <c:v>Finanza/Assicurazioni</c:v>
                </c:pt>
                <c:pt idx="5">
                  <c:v>Distribuzione</c:v>
                </c:pt>
                <c:pt idx="6">
                  <c:v>Telecomunicazioni</c:v>
                </c:pt>
                <c:pt idx="7">
                  <c:v>Locale</c:v>
                </c:pt>
                <c:pt idx="8">
                  <c:v>Alimentari</c:v>
                </c:pt>
                <c:pt idx="9">
                  <c:v>Tempo libero</c:v>
                </c:pt>
                <c:pt idx="10">
                  <c:v>Bevande/Alcoolici</c:v>
                </c:pt>
                <c:pt idx="11">
                  <c:v>Abbigliamento</c:v>
                </c:pt>
                <c:pt idx="12">
                  <c:v>Turismo/Viaggi</c:v>
                </c:pt>
                <c:pt idx="13">
                  <c:v>Industria/Edilizia/Attività</c:v>
                </c:pt>
                <c:pt idx="14">
                  <c:v>Informatica/Fotografia</c:v>
                </c:pt>
                <c:pt idx="15">
                  <c:v>Cura persona</c:v>
                </c:pt>
                <c:pt idx="16">
                  <c:v>Farmaceutici/Sanitari</c:v>
                </c:pt>
                <c:pt idx="17">
                  <c:v>Enti/Istituzioni</c:v>
                </c:pt>
                <c:pt idx="18">
                  <c:v>Abitazione</c:v>
                </c:pt>
                <c:pt idx="19">
                  <c:v>Oggetti personali</c:v>
                </c:pt>
                <c:pt idx="20">
                  <c:v>Giochi/Articoli scolastici</c:v>
                </c:pt>
                <c:pt idx="21">
                  <c:v>Gestione casa</c:v>
                </c:pt>
                <c:pt idx="22">
                  <c:v>Elettrodomestici</c:v>
                </c:pt>
                <c:pt idx="23">
                  <c:v>Di Servizio</c:v>
                </c:pt>
                <c:pt idx="24">
                  <c:v>Toiletries</c:v>
                </c:pt>
                <c:pt idx="25">
                  <c:v>Moto/Veicoli</c:v>
                </c:pt>
                <c:pt idx="26">
                  <c:v>Rubricata</c:v>
                </c:pt>
              </c:strCache>
            </c:strRef>
          </c:cat>
          <c:val>
            <c:numRef>
              <c:f>'Grafico MENSILE'!$G$3:$G$29</c:f>
              <c:numCache>
                <c:formatCode>0.0%</c:formatCode>
                <c:ptCount val="27"/>
                <c:pt idx="0">
                  <c:v>0.14354067253005637</c:v>
                </c:pt>
                <c:pt idx="1">
                  <c:v>0.18041153846473684</c:v>
                </c:pt>
                <c:pt idx="2">
                  <c:v>0.15290878563060253</c:v>
                </c:pt>
                <c:pt idx="3">
                  <c:v>6.1269565208034643E-2</c:v>
                </c:pt>
                <c:pt idx="4">
                  <c:v>5.7947793056843534E-2</c:v>
                </c:pt>
                <c:pt idx="5">
                  <c:v>3.9355608117910543E-2</c:v>
                </c:pt>
                <c:pt idx="6">
                  <c:v>3.6096958197527507E-2</c:v>
                </c:pt>
                <c:pt idx="7">
                  <c:v>5.4375996650572737E-2</c:v>
                </c:pt>
                <c:pt idx="8">
                  <c:v>3.5738077950171976E-2</c:v>
                </c:pt>
                <c:pt idx="9">
                  <c:v>2.8908801778837191E-2</c:v>
                </c:pt>
                <c:pt idx="10">
                  <c:v>1.6428394881938809E-2</c:v>
                </c:pt>
                <c:pt idx="11">
                  <c:v>2.2165971773370492E-2</c:v>
                </c:pt>
                <c:pt idx="12">
                  <c:v>1.2809255669436101E-2</c:v>
                </c:pt>
                <c:pt idx="13">
                  <c:v>2.5009662173707741E-2</c:v>
                </c:pt>
                <c:pt idx="14">
                  <c:v>1.3081521852668013E-2</c:v>
                </c:pt>
                <c:pt idx="15">
                  <c:v>1.6490828579980143E-2</c:v>
                </c:pt>
                <c:pt idx="16">
                  <c:v>2.4572756215058379E-2</c:v>
                </c:pt>
                <c:pt idx="17">
                  <c:v>1.4026782536236975E-2</c:v>
                </c:pt>
                <c:pt idx="18">
                  <c:v>5.8110382358648417E-3</c:v>
                </c:pt>
                <c:pt idx="19">
                  <c:v>7.8302576795370379E-3</c:v>
                </c:pt>
                <c:pt idx="20">
                  <c:v>5.1335847152544209E-3</c:v>
                </c:pt>
                <c:pt idx="21">
                  <c:v>1.9754660375208351E-2</c:v>
                </c:pt>
                <c:pt idx="22">
                  <c:v>1.3295632188201196E-2</c:v>
                </c:pt>
                <c:pt idx="23">
                  <c:v>4.0356399257849979E-3</c:v>
                </c:pt>
                <c:pt idx="24">
                  <c:v>6.0447808039153991E-3</c:v>
                </c:pt>
                <c:pt idx="25">
                  <c:v>2.8015936563481727E-3</c:v>
                </c:pt>
                <c:pt idx="26">
                  <c:v>1.5384115219498439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0411632"/>
        <c:axId val="200412024"/>
      </c:lineChart>
      <c:catAx>
        <c:axId val="200411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0412024"/>
        <c:crosses val="autoZero"/>
        <c:auto val="1"/>
        <c:lblAlgn val="ctr"/>
        <c:lblOffset val="100"/>
        <c:noMultiLvlLbl val="0"/>
      </c:catAx>
      <c:valAx>
        <c:axId val="200412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0411632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5129023190166455"/>
          <c:y val="0.91507074330511007"/>
          <c:w val="0.22890141083177545"/>
          <c:h val="7.11664906024980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29434374924144E-2"/>
          <c:y val="7.4551396243061008E-2"/>
          <c:w val="0.93587238585883592"/>
          <c:h val="0.4387990287856564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Grafico PROGRESSIVO'!$H$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Grafico PROGRESSIVO'!$A$3:$F$29</c:f>
              <c:multiLvlStrCache>
                <c:ptCount val="27"/>
                <c:lvl>
                  <c:pt idx="0">
                    <c:v>Automobili</c:v>
                  </c:pt>
                  <c:pt idx="1">
                    <c:v>Varie</c:v>
                  </c:pt>
                  <c:pt idx="2">
                    <c:v>Media/Editoria</c:v>
                  </c:pt>
                  <c:pt idx="3">
                    <c:v>Servizi Professionali</c:v>
                  </c:pt>
                  <c:pt idx="4">
                    <c:v>Alimentari</c:v>
                  </c:pt>
                  <c:pt idx="5">
                    <c:v>Finanza/Assicurazioni</c:v>
                  </c:pt>
                  <c:pt idx="6">
                    <c:v>Abbigliamento</c:v>
                  </c:pt>
                  <c:pt idx="7">
                    <c:v>Telecomunicazioni</c:v>
                  </c:pt>
                  <c:pt idx="8">
                    <c:v>Distribuzione</c:v>
                  </c:pt>
                  <c:pt idx="9">
                    <c:v>Cura persona</c:v>
                  </c:pt>
                  <c:pt idx="10">
                    <c:v>Locale</c:v>
                  </c:pt>
                  <c:pt idx="11">
                    <c:v>Turismo/Viaggi</c:v>
                  </c:pt>
                  <c:pt idx="12">
                    <c:v>Tempo libero</c:v>
                  </c:pt>
                  <c:pt idx="13">
                    <c:v>Farmaceutici/Sanitari</c:v>
                  </c:pt>
                  <c:pt idx="14">
                    <c:v>Informatica/Fotografia</c:v>
                  </c:pt>
                  <c:pt idx="15">
                    <c:v>Industria/Edilizia/Attività</c:v>
                  </c:pt>
                  <c:pt idx="16">
                    <c:v>Enti/Istituzioni</c:v>
                  </c:pt>
                  <c:pt idx="17">
                    <c:v>Bevande/Alcoolici</c:v>
                  </c:pt>
                  <c:pt idx="18">
                    <c:v>Abitazione</c:v>
                  </c:pt>
                  <c:pt idx="19">
                    <c:v>Oggetti personali</c:v>
                  </c:pt>
                  <c:pt idx="20">
                    <c:v>Elettrodomestici</c:v>
                  </c:pt>
                  <c:pt idx="21">
                    <c:v>Gestione casa</c:v>
                  </c:pt>
                  <c:pt idx="22">
                    <c:v>Toiletries</c:v>
                  </c:pt>
                  <c:pt idx="23">
                    <c:v>Moto/Veicoli</c:v>
                  </c:pt>
                  <c:pt idx="24">
                    <c:v>Giochi/Articoli scolastici</c:v>
                  </c:pt>
                  <c:pt idx="25">
                    <c:v>Di Servizio</c:v>
                  </c:pt>
                  <c:pt idx="26">
                    <c:v>Rubricata</c:v>
                  </c:pt>
                </c:lvl>
                <c:lvl>
                  <c:pt idx="0">
                    <c:v>5%</c:v>
                  </c:pt>
                  <c:pt idx="1">
                    <c:v>1%</c:v>
                  </c:pt>
                  <c:pt idx="2">
                    <c:v>6%</c:v>
                  </c:pt>
                  <c:pt idx="3">
                    <c:v>16%</c:v>
                  </c:pt>
                  <c:pt idx="4">
                    <c:v>2%</c:v>
                  </c:pt>
                  <c:pt idx="5">
                    <c:v>3%</c:v>
                  </c:pt>
                  <c:pt idx="6">
                    <c:v>4%</c:v>
                  </c:pt>
                  <c:pt idx="7">
                    <c:v>1%</c:v>
                  </c:pt>
                  <c:pt idx="8">
                    <c:v>2%</c:v>
                  </c:pt>
                  <c:pt idx="9">
                    <c:v>2%</c:v>
                  </c:pt>
                  <c:pt idx="10">
                    <c:v>6%</c:v>
                  </c:pt>
                  <c:pt idx="11">
                    <c:v>1%</c:v>
                  </c:pt>
                  <c:pt idx="12">
                    <c:v>0%</c:v>
                  </c:pt>
                  <c:pt idx="13">
                    <c:v>2%</c:v>
                  </c:pt>
                  <c:pt idx="14">
                    <c:v>2%</c:v>
                  </c:pt>
                  <c:pt idx="15">
                    <c:v>9%</c:v>
                  </c:pt>
                  <c:pt idx="16">
                    <c:v>0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5%</c:v>
                  </c:pt>
                  <c:pt idx="20">
                    <c:v>3%</c:v>
                  </c:pt>
                  <c:pt idx="21">
                    <c:v>1%</c:v>
                  </c:pt>
                  <c:pt idx="22">
                    <c:v>3%</c:v>
                  </c:pt>
                  <c:pt idx="23">
                    <c:v>15%</c:v>
                  </c:pt>
                  <c:pt idx="24">
                    <c:v>3%</c:v>
                  </c:pt>
                  <c:pt idx="25">
                    <c:v>0%</c:v>
                  </c:pt>
                  <c:pt idx="26">
                    <c:v>0%</c:v>
                  </c:pt>
                </c:lvl>
                <c:lvl>
                  <c:pt idx="0">
                    <c:v>4%</c:v>
                  </c:pt>
                  <c:pt idx="1">
                    <c:v>1%</c:v>
                  </c:pt>
                  <c:pt idx="2">
                    <c:v>6%</c:v>
                  </c:pt>
                  <c:pt idx="3">
                    <c:v>17%</c:v>
                  </c:pt>
                  <c:pt idx="4">
                    <c:v>2%</c:v>
                  </c:pt>
                  <c:pt idx="5">
                    <c:v>4%</c:v>
                  </c:pt>
                  <c:pt idx="6">
                    <c:v>4%</c:v>
                  </c:pt>
                  <c:pt idx="7">
                    <c:v>2%</c:v>
                  </c:pt>
                  <c:pt idx="8">
                    <c:v>2%</c:v>
                  </c:pt>
                  <c:pt idx="9">
                    <c:v>3%</c:v>
                  </c:pt>
                  <c:pt idx="10">
                    <c:v>5%</c:v>
                  </c:pt>
                  <c:pt idx="11">
                    <c:v>1%</c:v>
                  </c:pt>
                  <c:pt idx="12">
                    <c:v>0%</c:v>
                  </c:pt>
                  <c:pt idx="13">
                    <c:v>2%</c:v>
                  </c:pt>
                  <c:pt idx="14">
                    <c:v>2%</c:v>
                  </c:pt>
                  <c:pt idx="15">
                    <c:v>9%</c:v>
                  </c:pt>
                  <c:pt idx="16">
                    <c:v>1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5%</c:v>
                  </c:pt>
                  <c:pt idx="20">
                    <c:v>3%</c:v>
                  </c:pt>
                  <c:pt idx="21">
                    <c:v>1%</c:v>
                  </c:pt>
                  <c:pt idx="22">
                    <c:v>3%</c:v>
                  </c:pt>
                  <c:pt idx="23">
                    <c:v>12%</c:v>
                  </c:pt>
                  <c:pt idx="24">
                    <c:v>3%</c:v>
                  </c:pt>
                  <c:pt idx="25">
                    <c:v>0%</c:v>
                  </c:pt>
                  <c:pt idx="26">
                    <c:v>1%</c:v>
                  </c:pt>
                </c:lvl>
                <c:lvl>
                  <c:pt idx="0">
                    <c:v>Abbigliamento</c:v>
                  </c:pt>
                  <c:pt idx="1">
                    <c:v>Abitazione</c:v>
                  </c:pt>
                  <c:pt idx="2">
                    <c:v>Alimentari</c:v>
                  </c:pt>
                  <c:pt idx="3">
                    <c:v>Automobili</c:v>
                  </c:pt>
                  <c:pt idx="4">
                    <c:v>Bevande/Alcoolici</c:v>
                  </c:pt>
                  <c:pt idx="5">
                    <c:v>Cura persona</c:v>
                  </c:pt>
                  <c:pt idx="6">
                    <c:v>Distribuzione</c:v>
                  </c:pt>
                  <c:pt idx="7">
                    <c:v>Elettrodomestici</c:v>
                  </c:pt>
                  <c:pt idx="8">
                    <c:v>Enti/Istituzioni</c:v>
                  </c:pt>
                  <c:pt idx="9">
                    <c:v>Farmaceutici/Sanitari</c:v>
                  </c:pt>
                  <c:pt idx="10">
                    <c:v>Finanza/Assicurazioni</c:v>
                  </c:pt>
                  <c:pt idx="11">
                    <c:v>Gestione casa</c:v>
                  </c:pt>
                  <c:pt idx="12">
                    <c:v>Giochi/Articoli scolastici</c:v>
                  </c:pt>
                  <c:pt idx="13">
                    <c:v>Industria/Edilizia/Attività</c:v>
                  </c:pt>
                  <c:pt idx="14">
                    <c:v>Informatica/Fotografia</c:v>
                  </c:pt>
                  <c:pt idx="15">
                    <c:v>Media/Editoria</c:v>
                  </c:pt>
                  <c:pt idx="16">
                    <c:v>Moto/Veicoli</c:v>
                  </c:pt>
                  <c:pt idx="17">
                    <c:v>Oggetti personali</c:v>
                  </c:pt>
                  <c:pt idx="18">
                    <c:v>Servizi Professionali</c:v>
                  </c:pt>
                  <c:pt idx="19">
                    <c:v>Telecomunicazioni</c:v>
                  </c:pt>
                  <c:pt idx="20">
                    <c:v>Tempo libero</c:v>
                  </c:pt>
                  <c:pt idx="21">
                    <c:v>Toiletries</c:v>
                  </c:pt>
                  <c:pt idx="22">
                    <c:v>Turismo/Viaggi</c:v>
                  </c:pt>
                  <c:pt idx="23">
                    <c:v>Varie</c:v>
                  </c:pt>
                  <c:pt idx="24">
                    <c:v>Locale</c:v>
                  </c:pt>
                  <c:pt idx="25">
                    <c:v>Rubricata</c:v>
                  </c:pt>
                  <c:pt idx="26">
                    <c:v>Di Servizio</c:v>
                  </c:pt>
                </c:lvl>
              </c:multiLvlStrCache>
            </c:multiLvlStrRef>
          </c:cat>
          <c:val>
            <c:numRef>
              <c:f>'Grafico PROGRESSIVO'!$H$3:$H$29</c:f>
              <c:numCache>
                <c:formatCode>0.0%</c:formatCode>
                <c:ptCount val="27"/>
                <c:pt idx="0">
                  <c:v>0.15621672573231168</c:v>
                </c:pt>
                <c:pt idx="1">
                  <c:v>0.15133045001864237</c:v>
                </c:pt>
                <c:pt idx="2">
                  <c:v>9.0728906669588563E-2</c:v>
                </c:pt>
                <c:pt idx="3">
                  <c:v>6.1594452518253351E-2</c:v>
                </c:pt>
                <c:pt idx="4">
                  <c:v>5.8371178327289212E-2</c:v>
                </c:pt>
                <c:pt idx="5">
                  <c:v>5.681442874608876E-2</c:v>
                </c:pt>
                <c:pt idx="6">
                  <c:v>4.9748725143081825E-2</c:v>
                </c:pt>
                <c:pt idx="7">
                  <c:v>4.9669107394368153E-2</c:v>
                </c:pt>
                <c:pt idx="8">
                  <c:v>4.1003928549787357E-2</c:v>
                </c:pt>
                <c:pt idx="9">
                  <c:v>3.1177106873340299E-2</c:v>
                </c:pt>
                <c:pt idx="10">
                  <c:v>2.88394123977956E-2</c:v>
                </c:pt>
                <c:pt idx="11">
                  <c:v>2.8324815583969733E-2</c:v>
                </c:pt>
                <c:pt idx="12">
                  <c:v>2.6367583309697663E-2</c:v>
                </c:pt>
                <c:pt idx="13">
                  <c:v>2.3933478087017741E-2</c:v>
                </c:pt>
                <c:pt idx="14">
                  <c:v>2.2419216079637271E-2</c:v>
                </c:pt>
                <c:pt idx="15">
                  <c:v>2.0594554780411001E-2</c:v>
                </c:pt>
                <c:pt idx="16">
                  <c:v>1.9872722958293929E-2</c:v>
                </c:pt>
                <c:pt idx="17">
                  <c:v>1.5759280380797078E-2</c:v>
                </c:pt>
                <c:pt idx="18">
                  <c:v>1.4410800185413601E-2</c:v>
                </c:pt>
                <c:pt idx="19">
                  <c:v>1.2786995777762045E-2</c:v>
                </c:pt>
                <c:pt idx="20">
                  <c:v>1.0847218413233068E-2</c:v>
                </c:pt>
                <c:pt idx="21">
                  <c:v>1.0258969827109105E-2</c:v>
                </c:pt>
                <c:pt idx="22">
                  <c:v>7.037077111180041E-3</c:v>
                </c:pt>
                <c:pt idx="23">
                  <c:v>4.62652387283893E-3</c:v>
                </c:pt>
                <c:pt idx="24">
                  <c:v>3.6374423570823943E-3</c:v>
                </c:pt>
                <c:pt idx="25">
                  <c:v>3.5242527263491374E-3</c:v>
                </c:pt>
                <c:pt idx="26">
                  <c:v>1.0464617865948215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00526608"/>
        <c:axId val="200527000"/>
      </c:barChart>
      <c:lineChart>
        <c:grouping val="standard"/>
        <c:varyColors val="0"/>
        <c:ser>
          <c:idx val="0"/>
          <c:order val="0"/>
          <c:tx>
            <c:strRef>
              <c:f>'Grafico PROGRESSIVO'!$G$2</c:f>
              <c:strCache>
                <c:ptCount val="1"/>
                <c:pt idx="0">
                  <c:v>2017</c:v>
                </c:pt>
              </c:strCache>
            </c:strRef>
          </c:tx>
          <c:spPr>
            <a:ln w="317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'Grafico PROGRESSIVO'!$F$3:$F$29</c:f>
              <c:strCache>
                <c:ptCount val="27"/>
                <c:pt idx="0">
                  <c:v>Automobili</c:v>
                </c:pt>
                <c:pt idx="1">
                  <c:v>Varie</c:v>
                </c:pt>
                <c:pt idx="2">
                  <c:v>Media/Editoria</c:v>
                </c:pt>
                <c:pt idx="3">
                  <c:v>Servizi Professionali</c:v>
                </c:pt>
                <c:pt idx="4">
                  <c:v>Alimentari</c:v>
                </c:pt>
                <c:pt idx="5">
                  <c:v>Finanza/Assicurazioni</c:v>
                </c:pt>
                <c:pt idx="6">
                  <c:v>Abbigliamento</c:v>
                </c:pt>
                <c:pt idx="7">
                  <c:v>Telecomunicazioni</c:v>
                </c:pt>
                <c:pt idx="8">
                  <c:v>Distribuzione</c:v>
                </c:pt>
                <c:pt idx="9">
                  <c:v>Cura persona</c:v>
                </c:pt>
                <c:pt idx="10">
                  <c:v>Locale</c:v>
                </c:pt>
                <c:pt idx="11">
                  <c:v>Turismo/Viaggi</c:v>
                </c:pt>
                <c:pt idx="12">
                  <c:v>Tempo libero</c:v>
                </c:pt>
                <c:pt idx="13">
                  <c:v>Farmaceutici/Sanitari</c:v>
                </c:pt>
                <c:pt idx="14">
                  <c:v>Informatica/Fotografia</c:v>
                </c:pt>
                <c:pt idx="15">
                  <c:v>Industria/Edilizia/Attività</c:v>
                </c:pt>
                <c:pt idx="16">
                  <c:v>Enti/Istituzioni</c:v>
                </c:pt>
                <c:pt idx="17">
                  <c:v>Bevande/Alcoolici</c:v>
                </c:pt>
                <c:pt idx="18">
                  <c:v>Abitazione</c:v>
                </c:pt>
                <c:pt idx="19">
                  <c:v>Oggetti personali</c:v>
                </c:pt>
                <c:pt idx="20">
                  <c:v>Elettrodomestici</c:v>
                </c:pt>
                <c:pt idx="21">
                  <c:v>Gestione casa</c:v>
                </c:pt>
                <c:pt idx="22">
                  <c:v>Toiletries</c:v>
                </c:pt>
                <c:pt idx="23">
                  <c:v>Moto/Veicoli</c:v>
                </c:pt>
                <c:pt idx="24">
                  <c:v>Giochi/Articoli scolastici</c:v>
                </c:pt>
                <c:pt idx="25">
                  <c:v>Di Servizio</c:v>
                </c:pt>
                <c:pt idx="26">
                  <c:v>Rubricata</c:v>
                </c:pt>
              </c:strCache>
            </c:strRef>
          </c:cat>
          <c:val>
            <c:numRef>
              <c:f>'Grafico PROGRESSIVO'!$G$3:$G$29</c:f>
              <c:numCache>
                <c:formatCode>0.0%</c:formatCode>
                <c:ptCount val="27"/>
                <c:pt idx="0">
                  <c:v>0.17167836869542305</c:v>
                </c:pt>
                <c:pt idx="1">
                  <c:v>0.12443429172968909</c:v>
                </c:pt>
                <c:pt idx="2">
                  <c:v>8.5658913794910432E-2</c:v>
                </c:pt>
                <c:pt idx="3">
                  <c:v>6.2979121397314652E-2</c:v>
                </c:pt>
                <c:pt idx="4">
                  <c:v>6.0254562451486124E-2</c:v>
                </c:pt>
                <c:pt idx="5">
                  <c:v>4.9708956978697275E-2</c:v>
                </c:pt>
                <c:pt idx="6">
                  <c:v>4.3449162066674561E-2</c:v>
                </c:pt>
                <c:pt idx="7">
                  <c:v>4.81475175729442E-2</c:v>
                </c:pt>
                <c:pt idx="8">
                  <c:v>4.466092033341186E-2</c:v>
                </c:pt>
                <c:pt idx="9">
                  <c:v>3.5343923753280868E-2</c:v>
                </c:pt>
                <c:pt idx="10">
                  <c:v>2.7957384797770175E-2</c:v>
                </c:pt>
                <c:pt idx="11">
                  <c:v>2.934635750932918E-2</c:v>
                </c:pt>
                <c:pt idx="12">
                  <c:v>2.8694915202216155E-2</c:v>
                </c:pt>
                <c:pt idx="13">
                  <c:v>2.6089114746476873E-2</c:v>
                </c:pt>
                <c:pt idx="14">
                  <c:v>1.8479837666669784E-2</c:v>
                </c:pt>
                <c:pt idx="15">
                  <c:v>2.232685998359097E-2</c:v>
                </c:pt>
                <c:pt idx="16">
                  <c:v>2.1034255781599866E-2</c:v>
                </c:pt>
                <c:pt idx="17">
                  <c:v>1.8939235178251197E-2</c:v>
                </c:pt>
                <c:pt idx="18">
                  <c:v>1.4329831177586013E-2</c:v>
                </c:pt>
                <c:pt idx="19">
                  <c:v>1.3222689760319825E-2</c:v>
                </c:pt>
                <c:pt idx="20">
                  <c:v>1.5657807189094625E-2</c:v>
                </c:pt>
                <c:pt idx="21">
                  <c:v>1.1699616923847203E-2</c:v>
                </c:pt>
                <c:pt idx="22">
                  <c:v>9.5169850199239223E-3</c:v>
                </c:pt>
                <c:pt idx="23">
                  <c:v>6.7692964731396136E-3</c:v>
                </c:pt>
                <c:pt idx="24">
                  <c:v>4.1647150122839432E-3</c:v>
                </c:pt>
                <c:pt idx="25">
                  <c:v>5.3649340065721179E-3</c:v>
                </c:pt>
                <c:pt idx="26">
                  <c:v>9.0424797496136471E-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0526608"/>
        <c:axId val="200527000"/>
      </c:lineChart>
      <c:catAx>
        <c:axId val="20052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0527000"/>
        <c:crosses val="autoZero"/>
        <c:auto val="1"/>
        <c:lblAlgn val="ctr"/>
        <c:lblOffset val="100"/>
        <c:noMultiLvlLbl val="0"/>
      </c:catAx>
      <c:valAx>
        <c:axId val="2005270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052660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5129023190166455"/>
          <c:y val="0.91507074330511007"/>
          <c:w val="0.22890141083177545"/>
          <c:h val="7.11664906024980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 dirty="0"/>
              <a:t>Smartphon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1.4652006199990655E-2"/>
          <c:y val="0.17171296296296296"/>
          <c:w val="0.97802199070001405"/>
          <c:h val="0.6149843248760571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3!$A$11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1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0:$C$10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3!$B$11:$C$11</c:f>
              <c:numCache>
                <c:formatCode>0.00%</c:formatCode>
                <c:ptCount val="2"/>
                <c:pt idx="0">
                  <c:v>0.12869542750794849</c:v>
                </c:pt>
                <c:pt idx="1">
                  <c:v>0.10781770563224087</c:v>
                </c:pt>
              </c:numCache>
            </c:numRef>
          </c:val>
        </c:ser>
        <c:ser>
          <c:idx val="1"/>
          <c:order val="1"/>
          <c:tx>
            <c:strRef>
              <c:f>Foglio3!$A$12</c:f>
              <c:strCache>
                <c:ptCount val="1"/>
                <c:pt idx="0">
                  <c:v>BROWS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87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89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0:$C$10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3!$B$12:$C$12</c:f>
              <c:numCache>
                <c:formatCode>0.00%</c:formatCode>
                <c:ptCount val="2"/>
                <c:pt idx="0">
                  <c:v>0.87130457249205151</c:v>
                </c:pt>
                <c:pt idx="1">
                  <c:v>0.892182294367759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7741936"/>
        <c:axId val="197742328"/>
      </c:barChart>
      <c:catAx>
        <c:axId val="197741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97742328"/>
        <c:crosses val="autoZero"/>
        <c:auto val="1"/>
        <c:lblAlgn val="ctr"/>
        <c:lblOffset val="100"/>
        <c:noMultiLvlLbl val="1"/>
      </c:catAx>
      <c:valAx>
        <c:axId val="19774232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97741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 dirty="0"/>
              <a:t>Desktop/Tablet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7.4250532031371247E-2"/>
          <c:y val="0.15324074074074076"/>
          <c:w val="0.85149893593725745"/>
          <c:h val="0.6433818168562263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3!$E$11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F$10:$G$10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3!$F$11:$G$11</c:f>
              <c:numCache>
                <c:formatCode>0.00%</c:formatCode>
                <c:ptCount val="2"/>
                <c:pt idx="0">
                  <c:v>9.3414152666645173E-3</c:v>
                </c:pt>
                <c:pt idx="1">
                  <c:v>1.0381848775754862E-2</c:v>
                </c:pt>
              </c:numCache>
            </c:numRef>
          </c:val>
        </c:ser>
        <c:ser>
          <c:idx val="1"/>
          <c:order val="1"/>
          <c:tx>
            <c:strRef>
              <c:f>Foglio3!$E$12</c:f>
              <c:strCache>
                <c:ptCount val="1"/>
                <c:pt idx="0">
                  <c:v>BROWS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99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99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F$10:$G$10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3!$F$12:$G$12</c:f>
              <c:numCache>
                <c:formatCode>0.00%</c:formatCode>
                <c:ptCount val="2"/>
                <c:pt idx="0">
                  <c:v>0.99065858473333546</c:v>
                </c:pt>
                <c:pt idx="1">
                  <c:v>0.9896181512242451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7743112"/>
        <c:axId val="197743504"/>
      </c:barChart>
      <c:catAx>
        <c:axId val="197743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97743504"/>
        <c:crosses val="autoZero"/>
        <c:auto val="1"/>
        <c:lblAlgn val="ctr"/>
        <c:lblOffset val="100"/>
        <c:noMultiLvlLbl val="1"/>
      </c:catAx>
      <c:valAx>
        <c:axId val="19774350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97743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it-IT" b="1" dirty="0"/>
              <a:t>Peso</a:t>
            </a:r>
            <a:r>
              <a:rPr lang="it-IT" b="1" baseline="0" dirty="0"/>
              <a:t> % delle modalità di </a:t>
            </a:r>
            <a:r>
              <a:rPr lang="it-IT" b="1" dirty="0"/>
              <a:t>FRUIZIONE</a:t>
            </a:r>
          </a:p>
        </c:rich>
      </c:tx>
      <c:layout>
        <c:manualLayout>
          <c:xMode val="edge"/>
          <c:yMode val="edge"/>
          <c:x val="0.19833708062281383"/>
          <c:y val="9.41816781628341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6.8696453441121616E-2"/>
          <c:y val="0.16696999020376396"/>
          <c:w val="0.67740626107628354"/>
          <c:h val="0.657672529344824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3!$J$10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I$11:$I$12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3!$J$11:$J$12</c:f>
              <c:numCache>
                <c:formatCode>0.00%</c:formatCode>
                <c:ptCount val="2"/>
                <c:pt idx="0">
                  <c:v>4.3218717937188268E-2</c:v>
                </c:pt>
                <c:pt idx="1">
                  <c:v>3.3349481728729424E-2</c:v>
                </c:pt>
              </c:numCache>
            </c:numRef>
          </c:val>
        </c:ser>
        <c:ser>
          <c:idx val="1"/>
          <c:order val="1"/>
          <c:tx>
            <c:strRef>
              <c:f>Foglio3!$K$10</c:f>
              <c:strCache>
                <c:ptCount val="1"/>
                <c:pt idx="0">
                  <c:v>BROWS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BD41C817-B9FB-417E-B221-B4DBE8E68BB1}" type="VALUE">
                      <a:rPr lang="en-US" sz="1000" b="1"/>
                      <a:pPr/>
                      <a:t>[VALOR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I$11:$I$12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3!$K$11:$K$12</c:f>
              <c:numCache>
                <c:formatCode>0.00%</c:formatCode>
                <c:ptCount val="2"/>
                <c:pt idx="0">
                  <c:v>0.95678128206281166</c:v>
                </c:pt>
                <c:pt idx="1">
                  <c:v>0.966650518271270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7744680"/>
        <c:axId val="197745072"/>
      </c:barChart>
      <c:catAx>
        <c:axId val="197744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7745072"/>
        <c:crosses val="autoZero"/>
        <c:auto val="1"/>
        <c:lblAlgn val="ctr"/>
        <c:lblOffset val="100"/>
        <c:noMultiLvlLbl val="1"/>
      </c:catAx>
      <c:valAx>
        <c:axId val="197745072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97744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</c:legendEntry>
      <c:layout>
        <c:manualLayout>
          <c:xMode val="edge"/>
          <c:yMode val="edge"/>
          <c:x val="0.77099168316548106"/>
          <c:y val="0.40023992001670178"/>
          <c:w val="0.19530396902399816"/>
          <c:h val="0.197161668519722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it-IT" b="1" dirty="0" smtClean="0"/>
              <a:t>Peso % </a:t>
            </a:r>
            <a:r>
              <a:rPr lang="it-IT" b="1" dirty="0"/>
              <a:t>delle Modalità di vendit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5.0304799553198318E-2"/>
          <c:y val="0.14907407407407408"/>
          <c:w val="0.89939040089360334"/>
          <c:h val="0.642392461358996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3!$M$11</c:f>
              <c:strCache>
                <c:ptCount val="1"/>
                <c:pt idx="0">
                  <c:v>A Impression</c:v>
                </c:pt>
              </c:strCache>
            </c:strRef>
          </c:tx>
          <c:spPr>
            <a:solidFill>
              <a:srgbClr val="44548C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N$10:$O$10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3!$N$11:$O$11</c:f>
              <c:numCache>
                <c:formatCode>0.00%</c:formatCode>
                <c:ptCount val="2"/>
                <c:pt idx="0">
                  <c:v>0.71723858116933847</c:v>
                </c:pt>
                <c:pt idx="1">
                  <c:v>0.734490764589114</c:v>
                </c:pt>
              </c:numCache>
            </c:numRef>
          </c:val>
        </c:ser>
        <c:ser>
          <c:idx val="1"/>
          <c:order val="1"/>
          <c:tx>
            <c:strRef>
              <c:f>Foglio3!$M$12</c:f>
              <c:strCache>
                <c:ptCount val="1"/>
                <c:pt idx="0">
                  <c:v>A Performance</c:v>
                </c:pt>
              </c:strCache>
            </c:strRef>
          </c:tx>
          <c:spPr>
            <a:solidFill>
              <a:srgbClr val="FFCB25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N$10:$O$10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3!$N$12:$O$12</c:f>
              <c:numCache>
                <c:formatCode>0.00%</c:formatCode>
                <c:ptCount val="2"/>
                <c:pt idx="0">
                  <c:v>0.11632682346082132</c:v>
                </c:pt>
                <c:pt idx="1">
                  <c:v>8.9414776324617931E-2</c:v>
                </c:pt>
              </c:numCache>
            </c:numRef>
          </c:val>
        </c:ser>
        <c:ser>
          <c:idx val="2"/>
          <c:order val="2"/>
          <c:tx>
            <c:strRef>
              <c:f>Foglio3!$M$13</c:f>
              <c:strCache>
                <c:ptCount val="1"/>
                <c:pt idx="0">
                  <c:v>A 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N$10:$O$10</c:f>
              <c:strCache>
                <c:ptCount val="2"/>
                <c:pt idx="0">
                  <c:v>ago '18</c:v>
                </c:pt>
                <c:pt idx="1">
                  <c:v>ago '17</c:v>
                </c:pt>
              </c:strCache>
            </c:strRef>
          </c:cat>
          <c:val>
            <c:numRef>
              <c:f>Foglio3!$N$13:$O$13</c:f>
              <c:numCache>
                <c:formatCode>0.00%</c:formatCode>
                <c:ptCount val="2"/>
                <c:pt idx="0">
                  <c:v>0.16643459536984009</c:v>
                </c:pt>
                <c:pt idx="1">
                  <c:v>0.17609445908626814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868808"/>
        <c:axId val="199869200"/>
      </c:barChart>
      <c:catAx>
        <c:axId val="199868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9869200"/>
        <c:crosses val="autoZero"/>
        <c:auto val="1"/>
        <c:lblAlgn val="ctr"/>
        <c:lblOffset val="100"/>
        <c:noMultiLvlLbl val="0"/>
      </c:catAx>
      <c:valAx>
        <c:axId val="19986920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99868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76134352478227E-2"/>
          <c:y val="3.6170846372528355E-2"/>
          <c:w val="0.94444444444444442"/>
          <c:h val="0.726456384168604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i storici'!$B$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6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6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B$2:$B$5</c:f>
              <c:numCache>
                <c:formatCode>0%</c:formatCode>
                <c:ptCount val="4"/>
                <c:pt idx="0">
                  <c:v>0.60811231321245263</c:v>
                </c:pt>
                <c:pt idx="1">
                  <c:v>0.66177131193779193</c:v>
                </c:pt>
                <c:pt idx="2">
                  <c:v>0.71084370692268151</c:v>
                </c:pt>
                <c:pt idx="3">
                  <c:v>0.729267748888385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FF4-4E18-A8F8-251A6A5DF4EC}"/>
            </c:ext>
          </c:extLst>
        </c:ser>
        <c:ser>
          <c:idx val="1"/>
          <c:order val="1"/>
          <c:tx>
            <c:strRef>
              <c:f>'Grafici storici'!$C$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C$2:$C$5</c:f>
              <c:numCache>
                <c:formatCode>0%</c:formatCode>
                <c:ptCount val="4"/>
                <c:pt idx="0">
                  <c:v>0.24346344793706715</c:v>
                </c:pt>
                <c:pt idx="1">
                  <c:v>0.25897825694822063</c:v>
                </c:pt>
                <c:pt idx="2">
                  <c:v>0.19732231459604824</c:v>
                </c:pt>
                <c:pt idx="3">
                  <c:v>0.190589996809930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DFF4-4E18-A8F8-251A6A5DF4EC}"/>
            </c:ext>
          </c:extLst>
        </c:ser>
        <c:ser>
          <c:idx val="2"/>
          <c:order val="2"/>
          <c:tx>
            <c:strRef>
              <c:f>'Grafici storici'!$D$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D$2:$D$5</c:f>
              <c:numCache>
                <c:formatCode>0%</c:formatCode>
                <c:ptCount val="4"/>
                <c:pt idx="0">
                  <c:v>0.1484242388504802</c:v>
                </c:pt>
                <c:pt idx="1">
                  <c:v>7.9250431113987413E-2</c:v>
                </c:pt>
                <c:pt idx="2">
                  <c:v>9.183397848127034E-2</c:v>
                </c:pt>
                <c:pt idx="3">
                  <c:v>8.014225430168425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DFF4-4E18-A8F8-251A6A5DF4E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99870376"/>
        <c:axId val="199870768"/>
      </c:barChart>
      <c:catAx>
        <c:axId val="199870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9870768"/>
        <c:crosses val="autoZero"/>
        <c:auto val="1"/>
        <c:lblAlgn val="ctr"/>
        <c:lblOffset val="100"/>
        <c:noMultiLvlLbl val="0"/>
      </c:catAx>
      <c:valAx>
        <c:axId val="19987076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9870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2768194880568036E-3"/>
          <c:y val="0.91833123205298495"/>
          <c:w val="0.99272318051194319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509739025451903E-2"/>
          <c:y val="3.4870088328404845E-2"/>
          <c:w val="0.87612061555095566"/>
          <c:h val="0.79731992045526312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Grafico Vendita'!$B$3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rgbClr val="44548C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2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B$32:$B$34</c:f>
              <c:numCache>
                <c:formatCode>General</c:formatCode>
                <c:ptCount val="3"/>
                <c:pt idx="0" formatCode="0%">
                  <c:v>0.73677609397164512</c:v>
                </c:pt>
                <c:pt idx="1">
                  <c:v>0</c:v>
                </c:pt>
                <c:pt idx="2" formatCode="0%">
                  <c:v>0.72250904536448379</c:v>
                </c:pt>
              </c:numCache>
            </c:numRef>
          </c:val>
        </c:ser>
        <c:ser>
          <c:idx val="0"/>
          <c:order val="1"/>
          <c:tx>
            <c:strRef>
              <c:f>'Grafico Vendita'!$C$3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C$32:$C$34</c:f>
              <c:numCache>
                <c:formatCode>General</c:formatCode>
                <c:ptCount val="3"/>
                <c:pt idx="0" formatCode="0%">
                  <c:v>0.19597101528943511</c:v>
                </c:pt>
                <c:pt idx="1">
                  <c:v>0</c:v>
                </c:pt>
                <c:pt idx="2" formatCode="0%">
                  <c:v>0.20048610677047596</c:v>
                </c:pt>
              </c:numCache>
            </c:numRef>
          </c:val>
        </c:ser>
        <c:ser>
          <c:idx val="2"/>
          <c:order val="2"/>
          <c:tx>
            <c:strRef>
              <c:f>'Grafico Vendita'!$D$3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D$32:$D$34</c:f>
              <c:numCache>
                <c:formatCode>General</c:formatCode>
                <c:ptCount val="3"/>
                <c:pt idx="0" formatCode="0%">
                  <c:v>6.7252890738919754E-2</c:v>
                </c:pt>
                <c:pt idx="1">
                  <c:v>0</c:v>
                </c:pt>
                <c:pt idx="2" formatCode="0%">
                  <c:v>7.7004847865040318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99871552"/>
        <c:axId val="199871944"/>
      </c:barChart>
      <c:catAx>
        <c:axId val="199871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199871944"/>
        <c:crosses val="autoZero"/>
        <c:auto val="1"/>
        <c:lblAlgn val="ctr"/>
        <c:lblOffset val="100"/>
        <c:tickLblSkip val="1"/>
        <c:noMultiLvlLbl val="1"/>
      </c:catAx>
      <c:valAx>
        <c:axId val="199871944"/>
        <c:scaling>
          <c:orientation val="minMax"/>
          <c:max val="1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crossAx val="19987155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477554783096775E-2"/>
          <c:y val="2.1401838695510451E-2"/>
          <c:w val="0.93888888888888888"/>
          <c:h val="0.750164348590665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Grafici storici'!$J$1</c:f>
              <c:strCache>
                <c:ptCount val="1"/>
                <c:pt idx="0">
                  <c:v>Podcasting/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5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F49-4521-AB57-A8604F3719F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F49-4521-AB57-A8604F3719F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F49-4521-AB57-A8604F3719F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F49-4521-AB57-A8604F3719F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J$2:$J$5</c:f>
              <c:numCache>
                <c:formatCode>0%</c:formatCode>
                <c:ptCount val="4"/>
                <c:pt idx="0">
                  <c:v>0.50816016802309671</c:v>
                </c:pt>
                <c:pt idx="1">
                  <c:v>0.44034635244257186</c:v>
                </c:pt>
                <c:pt idx="2">
                  <c:v>0.36582646715452349</c:v>
                </c:pt>
                <c:pt idx="3">
                  <c:v>0.252337925101669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F49-4521-AB57-A8604F3719F4}"/>
            </c:ext>
          </c:extLst>
        </c:ser>
        <c:ser>
          <c:idx val="1"/>
          <c:order val="1"/>
          <c:tx>
            <c:strRef>
              <c:f>'Grafici storici'!$K$1</c:f>
              <c:strCache>
                <c:ptCount val="1"/>
                <c:pt idx="0">
                  <c:v>Pre-Mid-Post Roll 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F49-4521-AB57-A8604F3719F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5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F49-4521-AB57-A8604F3719F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6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F49-4521-AB57-A8604F3719F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F49-4521-AB57-A8604F3719F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K$2:$K$5</c:f>
              <c:numCache>
                <c:formatCode>0%</c:formatCode>
                <c:ptCount val="4"/>
                <c:pt idx="0">
                  <c:v>0.49183983197690345</c:v>
                </c:pt>
                <c:pt idx="1">
                  <c:v>0.5596536475574283</c:v>
                </c:pt>
                <c:pt idx="2">
                  <c:v>0.63417353284547651</c:v>
                </c:pt>
                <c:pt idx="3">
                  <c:v>0.747662074898330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F49-4521-AB57-A8604F3719F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00408888"/>
        <c:axId val="200409280"/>
      </c:barChart>
      <c:catAx>
        <c:axId val="200408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it-IT"/>
          </a:p>
        </c:txPr>
        <c:crossAx val="200409280"/>
        <c:crosses val="autoZero"/>
        <c:auto val="1"/>
        <c:lblAlgn val="ctr"/>
        <c:lblOffset val="100"/>
        <c:noMultiLvlLbl val="0"/>
      </c:catAx>
      <c:valAx>
        <c:axId val="200409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it-IT"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0408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87608161916231508"/>
          <c:w val="0.89057252932096831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97346860610334"/>
          <c:y val="2.6740645219249896E-2"/>
          <c:w val="0.81577347219437846"/>
          <c:h val="0.768247741433167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o Video'!$C$31</c:f>
              <c:strCache>
                <c:ptCount val="1"/>
                <c:pt idx="0">
                  <c:v>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9EC-4B78-B7DD-E9F744072B0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9EC-4B78-B7DD-E9F744072B0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C$32:$C$34</c:f>
              <c:numCache>
                <c:formatCode>General</c:formatCode>
                <c:ptCount val="3"/>
                <c:pt idx="0" formatCode="0%">
                  <c:v>0.22734147489437564</c:v>
                </c:pt>
                <c:pt idx="1">
                  <c:v>0</c:v>
                </c:pt>
                <c:pt idx="2" formatCode="0%">
                  <c:v>0.186420435294736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9EC-4B78-B7DD-E9F744072B02}"/>
            </c:ext>
          </c:extLst>
        </c:ser>
        <c:ser>
          <c:idx val="2"/>
          <c:order val="1"/>
          <c:tx>
            <c:strRef>
              <c:f>'Grafico Video'!$D$31</c:f>
              <c:strCache>
                <c:ptCount val="1"/>
                <c:pt idx="0">
                  <c:v>Video Out Strea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9EC-4B78-B7DD-E9F744072B0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D$32:$D$34</c:f>
              <c:numCache>
                <c:formatCode>General</c:formatCode>
                <c:ptCount val="3"/>
                <c:pt idx="0" formatCode="0%">
                  <c:v>2.9909875508605268E-2</c:v>
                </c:pt>
                <c:pt idx="1">
                  <c:v>0</c:v>
                </c:pt>
                <c:pt idx="2" formatCode="0%">
                  <c:v>5.517462523501232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9EC-4B78-B7DD-E9F744072B02}"/>
            </c:ext>
          </c:extLst>
        </c:ser>
        <c:ser>
          <c:idx val="1"/>
          <c:order val="2"/>
          <c:tx>
            <c:strRef>
              <c:f>'Grafico Video'!$B$31</c:f>
              <c:strCache>
                <c:ptCount val="1"/>
                <c:pt idx="0">
                  <c:v>Pre-Mid-Post Roll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79EC-4B78-B7DD-E9F744072B0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79EC-4B78-B7DD-E9F744072B0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B$32:$B$34</c:f>
              <c:numCache>
                <c:formatCode>General</c:formatCode>
                <c:ptCount val="3"/>
                <c:pt idx="0" formatCode="0%">
                  <c:v>0.74274864959701925</c:v>
                </c:pt>
                <c:pt idx="1">
                  <c:v>0</c:v>
                </c:pt>
                <c:pt idx="2" formatCode="0%">
                  <c:v>0.758404939470250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79EC-4B78-B7DD-E9F744072B0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00410064"/>
        <c:axId val="200410456"/>
      </c:barChart>
      <c:catAx>
        <c:axId val="200410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200410456"/>
        <c:crosses val="autoZero"/>
        <c:auto val="1"/>
        <c:lblAlgn val="ctr"/>
        <c:lblOffset val="100"/>
        <c:tickLblSkip val="1"/>
        <c:noMultiLvlLbl val="1"/>
      </c:catAx>
      <c:valAx>
        <c:axId val="200410456"/>
        <c:scaling>
          <c:orientation val="minMax"/>
          <c:max val="1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crossAx val="20041006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2822849828669398E-3"/>
          <c:y val="0.89106988783434005"/>
          <c:w val="0.99871771501713302"/>
          <c:h val="8.5160753583728557E-2"/>
        </c:manualLayout>
      </c:layout>
      <c:overlay val="0"/>
      <c:txPr>
        <a:bodyPr/>
        <a:lstStyle/>
        <a:p>
          <a:pPr>
            <a:defRPr sz="14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3181</cdr:x>
      <cdr:y>0.00469</cdr:y>
    </cdr:from>
    <cdr:to>
      <cdr:x>0.65063</cdr:x>
      <cdr:y>0.93837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1985062" y="18780"/>
          <a:ext cx="1005926" cy="374060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5781</cdr:x>
      <cdr:y>0</cdr:y>
    </cdr:from>
    <cdr:to>
      <cdr:x>0.61373</cdr:x>
      <cdr:y>0.9081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114027" y="0"/>
          <a:ext cx="720000" cy="3709542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25/09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25/09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57309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69335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63532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542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6217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4275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339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3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-121920" y="6472612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E9B29D2-0877-4FAC-9DF8-6EC3DF9A57FA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035019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dirty="0" smtClean="0">
                <a:solidFill>
                  <a:srgbClr val="FFFFFF"/>
                </a:solidFill>
              </a:rPr>
              <a:t>PRESENTAZIONE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DATI AGOSTO 2018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69781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26 settembre 2018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0" y="131274"/>
            <a:ext cx="12192000" cy="350821"/>
          </a:xfrm>
        </p:spPr>
        <p:txBody>
          <a:bodyPr/>
          <a:lstStyle/>
          <a:p>
            <a:r>
              <a:rPr lang="it-IT" sz="1400" i="1" dirty="0" smtClean="0"/>
              <a:t>PESO % SUL TOTALE DEGLI INVESTIMENTI NETTI nel mese di AGOSTO 2018 PER SETTORE MERCEOLOGICO </a:t>
            </a:r>
            <a:endParaRPr lang="it-IT" sz="1400" i="1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2" name="CasellaDiTesto 1"/>
          <p:cNvSpPr txBox="1"/>
          <p:nvPr/>
        </p:nvSpPr>
        <p:spPr>
          <a:xfrm>
            <a:off x="457200" y="6245170"/>
            <a:ext cx="71773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 dati sono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consultabili alla Tavola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X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el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port</a:t>
            </a:r>
            <a:endParaRPr lang="it-IT" sz="1050" b="1" i="1" dirty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7587300"/>
              </p:ext>
            </p:extLst>
          </p:nvPr>
        </p:nvGraphicFramePr>
        <p:xfrm>
          <a:off x="664803" y="762000"/>
          <a:ext cx="10862394" cy="5483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42040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2" grpId="0"/>
      <p:bldGraphic spid="10" grpId="0">
        <p:bldAsOne/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355227" y="82142"/>
            <a:ext cx="11481547" cy="438427"/>
          </a:xfrm>
        </p:spPr>
        <p:txBody>
          <a:bodyPr/>
          <a:lstStyle/>
          <a:p>
            <a:r>
              <a:rPr lang="it-IT" sz="1400" i="1" dirty="0" smtClean="0"/>
              <a:t>PESO % SUL TOTALE DEGLI INVESTIMENTI NETTI progressivi AD AGOSTO 2018 PER SETTORE MERCEOLOGIC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1</a:t>
            </a:fld>
            <a:endParaRPr lang="en-US" sz="1000" dirty="0"/>
          </a:p>
        </p:txBody>
      </p:sp>
      <p:sp>
        <p:nvSpPr>
          <p:cNvPr id="9" name="CasellaDiTesto 8"/>
          <p:cNvSpPr txBox="1"/>
          <p:nvPr/>
        </p:nvSpPr>
        <p:spPr>
          <a:xfrm>
            <a:off x="457200" y="6193920"/>
            <a:ext cx="71773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 dati sono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consultabili alla Tavola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X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el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port</a:t>
            </a:r>
            <a:endParaRPr lang="it-IT" sz="1050" b="1" i="1" dirty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2844160"/>
              </p:ext>
            </p:extLst>
          </p:nvPr>
        </p:nvGraphicFramePr>
        <p:xfrm>
          <a:off x="624114" y="771646"/>
          <a:ext cx="10943772" cy="5405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47038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9" grpId="0"/>
      <p:bldGraphic spid="10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658719"/>
              </p:ext>
            </p:extLst>
          </p:nvPr>
        </p:nvGraphicFramePr>
        <p:xfrm>
          <a:off x="1404038" y="255036"/>
          <a:ext cx="9383924" cy="6373028"/>
        </p:xfrm>
        <a:graphic>
          <a:graphicData uri="http://schemas.openxmlformats.org/drawingml/2006/table">
            <a:tbl>
              <a:tblPr/>
              <a:tblGrid>
                <a:gridCol w="14940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140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9131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19131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1956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9742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145524">
                <a:tc gridSpan="2">
                  <a:txBody>
                    <a:bodyPr/>
                    <a:lstStyle/>
                    <a:p>
                      <a:pPr algn="l" rtl="0" fontAlgn="ctr"/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8648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r>
                        <a:rPr lang="it-IT" sz="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,</a:t>
                      </a:r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8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2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5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0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ER MESE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INVESTIMENTI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8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8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9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7"/>
                  </a:ext>
                </a:extLst>
              </a:tr>
            </a:tbl>
          </a:graphicData>
        </a:graphic>
      </p:graphicFrame>
      <p:sp>
        <p:nvSpPr>
          <p:cNvPr id="10" name="Sottotitolo 3"/>
          <p:cNvSpPr txBox="1">
            <a:spLocks/>
          </p:cNvSpPr>
          <p:nvPr/>
        </p:nvSpPr>
        <p:spPr>
          <a:xfrm>
            <a:off x="428064" y="-79222"/>
            <a:ext cx="11481547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MENSILE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2</a:t>
            </a:fld>
            <a:endParaRPr lang="en-US" sz="1000" dirty="0"/>
          </a:p>
        </p:txBody>
      </p:sp>
      <p:sp>
        <p:nvSpPr>
          <p:cNvPr id="6" name="CasellaDiTesto 5"/>
          <p:cNvSpPr txBox="1"/>
          <p:nvPr/>
        </p:nvSpPr>
        <p:spPr>
          <a:xfrm>
            <a:off x="1056640" y="6692472"/>
            <a:ext cx="1001014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esclusa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"</a:t>
            </a:r>
            <a:endParaRPr lang="it-IT" sz="1000" i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935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0416159"/>
              </p:ext>
            </p:extLst>
          </p:nvPr>
        </p:nvGraphicFramePr>
        <p:xfrm>
          <a:off x="1404038" y="268483"/>
          <a:ext cx="9383924" cy="6373028"/>
        </p:xfrm>
        <a:graphic>
          <a:graphicData uri="http://schemas.openxmlformats.org/drawingml/2006/table">
            <a:tbl>
              <a:tblPr/>
              <a:tblGrid>
                <a:gridCol w="14940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140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9131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19131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1956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9742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220570">
                <a:tc gridSpan="2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8989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3011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PROGRESSIVI</a:t>
                      </a:r>
                      <a:r>
                        <a:rPr lang="it-IT" sz="12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2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23011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ROGRESSIVI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INVESTIMENTI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4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5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6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7"/>
                  </a:ext>
                </a:extLst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1056640" y="6692472"/>
            <a:ext cx="1001014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esclusa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"</a:t>
            </a:r>
            <a:endParaRPr lang="it-IT" sz="1000" i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ottotitolo 3"/>
          <p:cNvSpPr txBox="1">
            <a:spLocks/>
          </p:cNvSpPr>
          <p:nvPr/>
        </p:nvSpPr>
        <p:spPr>
          <a:xfrm>
            <a:off x="0" y="-79222"/>
            <a:ext cx="12192000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PROGRESSIV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3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4225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4220856"/>
              </p:ext>
            </p:extLst>
          </p:nvPr>
        </p:nvGraphicFramePr>
        <p:xfrm>
          <a:off x="737850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AGOSTO 2018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Nessuno</a:t>
                      </a:r>
                      <a:endParaRPr lang="de-DE" sz="1800" b="0" i="0" dirty="0" smtClean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ctr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0082911"/>
              </p:ext>
            </p:extLst>
          </p:nvPr>
        </p:nvGraphicFramePr>
        <p:xfrm>
          <a:off x="737850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AGOSTO 201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2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459819" y="58845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1044305"/>
              </p:ext>
            </p:extLst>
          </p:nvPr>
        </p:nvGraphicFramePr>
        <p:xfrm>
          <a:off x="153845" y="594813"/>
          <a:ext cx="8075119" cy="552583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106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8800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009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737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3938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404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2058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3882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5836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3060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KTOP/TABL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PHON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5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2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9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6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5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4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5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67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9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69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1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3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69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1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6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17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17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2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371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12.17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9.76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9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9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4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82.33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10" name="Segnaposto numero diapositiva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3</a:t>
            </a:fld>
            <a:endParaRPr lang="en-US" sz="1000" dirty="0"/>
          </a:p>
        </p:txBody>
      </p:sp>
      <p:sp>
        <p:nvSpPr>
          <p:cNvPr id="20" name="Rettangolo 19"/>
          <p:cNvSpPr/>
          <p:nvPr/>
        </p:nvSpPr>
        <p:spPr>
          <a:xfrm>
            <a:off x="457200" y="6178891"/>
            <a:ext cx="7755721" cy="587441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 anchor="ctr">
            <a:spAutoFit/>
          </a:bodyPr>
          <a:lstStyle/>
          <a:p>
            <a:pPr algn="ctr"/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</a:t>
            </a:r>
            <a:r>
              <a:rPr lang="it-IT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 56% </a:t>
            </a: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elle </a:t>
            </a:r>
            <a:r>
              <a:rPr lang="it-IT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Aziende </a:t>
            </a: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ichiaranti ha un dato in </a:t>
            </a:r>
            <a:r>
              <a:rPr lang="it-IT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alo nel mese di Agosto 2018 </a:t>
            </a:r>
          </a:p>
          <a:p>
            <a:pPr algn="ctr"/>
            <a:r>
              <a:rPr lang="it-IT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rispetto lo stesso mese dell’anno precedente</a:t>
            </a:r>
            <a:endParaRPr lang="it-IT" sz="12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grpSp>
        <p:nvGrpSpPr>
          <p:cNvPr id="8" name="Gruppo 7"/>
          <p:cNvGrpSpPr/>
          <p:nvPr/>
        </p:nvGrpSpPr>
        <p:grpSpPr>
          <a:xfrm>
            <a:off x="8402851" y="517933"/>
            <a:ext cx="3666946" cy="5821028"/>
            <a:chOff x="8402851" y="517933"/>
            <a:chExt cx="3666946" cy="5821028"/>
          </a:xfrm>
        </p:grpSpPr>
        <p:grpSp>
          <p:nvGrpSpPr>
            <p:cNvPr id="5" name="Gruppo 4"/>
            <p:cNvGrpSpPr/>
            <p:nvPr/>
          </p:nvGrpSpPr>
          <p:grpSpPr>
            <a:xfrm>
              <a:off x="8489346" y="517933"/>
              <a:ext cx="3480525" cy="2832299"/>
              <a:chOff x="8489346" y="517933"/>
              <a:chExt cx="3480525" cy="2832299"/>
            </a:xfrm>
          </p:grpSpPr>
          <p:graphicFrame>
            <p:nvGraphicFramePr>
              <p:cNvPr id="23" name="Grafico 22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105964283"/>
                  </p:ext>
                </p:extLst>
              </p:nvPr>
            </p:nvGraphicFramePr>
            <p:xfrm>
              <a:off x="8489346" y="550622"/>
              <a:ext cx="3480525" cy="279961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2" name="Rettangolo 1"/>
              <p:cNvSpPr/>
              <p:nvPr/>
            </p:nvSpPr>
            <p:spPr>
              <a:xfrm>
                <a:off x="8513871" y="517933"/>
                <a:ext cx="3456000" cy="2808000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endParaRPr lang="it-IT" sz="13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13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CasellaDiTesto 1"/>
              <p:cNvSpPr txBox="1"/>
              <p:nvPr/>
            </p:nvSpPr>
            <p:spPr>
              <a:xfrm>
                <a:off x="9234115" y="1294724"/>
                <a:ext cx="49658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0,1%</a:t>
                </a:r>
                <a:endParaRPr lang="it-IT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5" name="CasellaDiTesto 1"/>
              <p:cNvSpPr txBox="1"/>
              <p:nvPr/>
            </p:nvSpPr>
            <p:spPr>
              <a:xfrm>
                <a:off x="10837867" y="1186127"/>
                <a:ext cx="49658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0,1%</a:t>
                </a:r>
                <a:endParaRPr lang="it-IT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6" name="Gruppo 5"/>
            <p:cNvGrpSpPr/>
            <p:nvPr/>
          </p:nvGrpSpPr>
          <p:grpSpPr>
            <a:xfrm>
              <a:off x="8402851" y="3435693"/>
              <a:ext cx="3666946" cy="2903268"/>
              <a:chOff x="8402851" y="3435693"/>
              <a:chExt cx="3666946" cy="2903268"/>
            </a:xfrm>
          </p:grpSpPr>
          <p:sp>
            <p:nvSpPr>
              <p:cNvPr id="16" name="Rettangolo 15"/>
              <p:cNvSpPr/>
              <p:nvPr/>
            </p:nvSpPr>
            <p:spPr>
              <a:xfrm>
                <a:off x="10282148" y="3435693"/>
                <a:ext cx="1656000" cy="2808000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endParaRPr lang="it-IT" sz="13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13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Rettangolo 17"/>
              <p:cNvSpPr/>
              <p:nvPr/>
            </p:nvSpPr>
            <p:spPr>
              <a:xfrm>
                <a:off x="8518667" y="3442950"/>
                <a:ext cx="1656000" cy="2808000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endParaRPr lang="it-IT" sz="13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13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aphicFrame>
            <p:nvGraphicFramePr>
              <p:cNvPr id="28" name="Grafico 27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995339857"/>
                  </p:ext>
                </p:extLst>
              </p:nvPr>
            </p:nvGraphicFramePr>
            <p:xfrm>
              <a:off x="8402851" y="3489043"/>
              <a:ext cx="1887632" cy="284991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graphicFrame>
            <p:nvGraphicFramePr>
              <p:cNvPr id="29" name="Grafico 28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683964441"/>
                  </p:ext>
                </p:extLst>
              </p:nvPr>
            </p:nvGraphicFramePr>
            <p:xfrm>
              <a:off x="10188329" y="3542402"/>
              <a:ext cx="1881468" cy="27432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459819" y="45720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FRUIZIONE</a:t>
            </a:r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4504419"/>
              </p:ext>
            </p:extLst>
          </p:nvPr>
        </p:nvGraphicFramePr>
        <p:xfrm>
          <a:off x="371830" y="713066"/>
          <a:ext cx="6917388" cy="542561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249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2496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496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2496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5298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05607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91529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WSING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4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7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8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95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1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6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03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5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87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4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4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23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6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9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45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6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9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1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5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5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6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5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371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69.88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2.45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82.33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4</a:t>
            </a:fld>
            <a:endParaRPr lang="en-US" sz="1000" dirty="0"/>
          </a:p>
        </p:txBody>
      </p:sp>
      <p:grpSp>
        <p:nvGrpSpPr>
          <p:cNvPr id="6" name="Gruppo 5"/>
          <p:cNvGrpSpPr/>
          <p:nvPr/>
        </p:nvGrpSpPr>
        <p:grpSpPr>
          <a:xfrm>
            <a:off x="7498789" y="701318"/>
            <a:ext cx="4549737" cy="5336490"/>
            <a:chOff x="7498789" y="701318"/>
            <a:chExt cx="4549737" cy="5336490"/>
          </a:xfrm>
        </p:grpSpPr>
        <p:grpSp>
          <p:nvGrpSpPr>
            <p:cNvPr id="3" name="Gruppo 2"/>
            <p:cNvGrpSpPr/>
            <p:nvPr/>
          </p:nvGrpSpPr>
          <p:grpSpPr>
            <a:xfrm>
              <a:off x="7498789" y="841782"/>
              <a:ext cx="4549737" cy="5196026"/>
              <a:chOff x="7592918" y="519054"/>
              <a:chExt cx="4549737" cy="5196026"/>
            </a:xfrm>
          </p:grpSpPr>
          <p:sp>
            <p:nvSpPr>
              <p:cNvPr id="9" name="Rettangolo 8"/>
              <p:cNvSpPr/>
              <p:nvPr/>
            </p:nvSpPr>
            <p:spPr>
              <a:xfrm>
                <a:off x="7606655" y="3000982"/>
                <a:ext cx="4536000" cy="1249161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r>
                  <a:rPr lang="it-IT" sz="13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ROWSING</a:t>
                </a: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cs typeface="Arial" panose="020B0604020202020204" pitchFamily="34" charset="0"/>
                  </a:rPr>
                  <a:t>Il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 74% </a:t>
                </a:r>
                <a:r>
                  <a:rPr lang="it-IT" sz="1300" dirty="0">
                    <a:cs typeface="Arial" panose="020B0604020202020204" pitchFamily="34" charset="0"/>
                  </a:rPr>
                  <a:t>dell’erogato è generato da</a:t>
                </a:r>
                <a:r>
                  <a:rPr lang="it-IT" sz="1300" b="1" dirty="0">
                    <a:cs typeface="Arial" panose="020B0604020202020204" pitchFamily="34" charset="0"/>
                  </a:rPr>
                  <a:t>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Desktop/Tablet </a:t>
                </a:r>
                <a:r>
                  <a:rPr lang="it-IT" sz="1300" dirty="0" smtClean="0">
                    <a:cs typeface="Arial" panose="020B0604020202020204" pitchFamily="34" charset="0"/>
                  </a:rPr>
                  <a:t>(76% ad Agosto 2017)</a:t>
                </a:r>
                <a:endParaRPr lang="it-IT" sz="1300" dirty="0">
                  <a:cs typeface="Arial" panose="020B0604020202020204" pitchFamily="34" charset="0"/>
                </a:endParaRPr>
              </a:p>
              <a:p>
                <a:pPr algn="just"/>
                <a:endParaRPr lang="it-IT" sz="500" dirty="0" smtClean="0">
                  <a:solidFill>
                    <a:srgbClr val="FF0000"/>
                  </a:solidFill>
                  <a:latin typeface="+mj-lt"/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latin typeface="+mj-lt"/>
                    <a:cs typeface="Arial" panose="020B0604020202020204" pitchFamily="34" charset="0"/>
                  </a:rPr>
                  <a:t>Il </a:t>
                </a:r>
                <a:r>
                  <a:rPr lang="it-IT" sz="1300" b="1" dirty="0" smtClean="0">
                    <a:latin typeface="+mj-lt"/>
                    <a:cs typeface="Arial" panose="020B0604020202020204" pitchFamily="34" charset="0"/>
                  </a:rPr>
                  <a:t>62% </a:t>
                </a:r>
                <a:r>
                  <a:rPr lang="it-IT" sz="1300" dirty="0" smtClean="0">
                    <a:latin typeface="+mj-lt"/>
                    <a:cs typeface="Arial" panose="020B0604020202020204" pitchFamily="34" charset="0"/>
                  </a:rPr>
                  <a:t>è erogato su </a:t>
                </a:r>
                <a:r>
                  <a:rPr lang="it-IT" sz="1300" b="1" dirty="0" smtClean="0">
                    <a:latin typeface="+mj-lt"/>
                    <a:cs typeface="Arial" panose="020B0604020202020204" pitchFamily="34" charset="0"/>
                  </a:rPr>
                  <a:t>Banner</a:t>
                </a:r>
                <a:r>
                  <a:rPr lang="it-IT" sz="1300" dirty="0" smtClean="0">
                    <a:latin typeface="+mj-lt"/>
                    <a:cs typeface="Arial" panose="020B0604020202020204" pitchFamily="34" charset="0"/>
                  </a:rPr>
                  <a:t> e </a:t>
                </a:r>
                <a:r>
                  <a:rPr lang="it-IT" sz="500" dirty="0" smtClean="0"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it-IT" sz="1300" dirty="0" smtClean="0">
                    <a:cs typeface="Arial" panose="020B0604020202020204" pitchFamily="34" charset="0"/>
                  </a:rPr>
                  <a:t>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17%</a:t>
                </a:r>
                <a:r>
                  <a:rPr lang="it-IT" sz="1300" dirty="0" smtClean="0">
                    <a:cs typeface="Arial" panose="020B0604020202020204" pitchFamily="34" charset="0"/>
                  </a:rPr>
                  <a:t> su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Video </a:t>
                </a:r>
              </a:p>
            </p:txBody>
          </p:sp>
          <p:sp>
            <p:nvSpPr>
              <p:cNvPr id="10" name="Rettangolo 9"/>
              <p:cNvSpPr/>
              <p:nvPr/>
            </p:nvSpPr>
            <p:spPr>
              <a:xfrm>
                <a:off x="7606655" y="4342809"/>
                <a:ext cx="4536000" cy="1372271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r>
                  <a:rPr lang="it-IT" sz="13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P</a:t>
                </a: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endParaRPr lang="it-IT" sz="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cs typeface="Arial" panose="020B0604020202020204" pitchFamily="34" charset="0"/>
                  </a:rPr>
                  <a:t>Il dato di Agosto è positivo per 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55%</a:t>
                </a:r>
                <a:r>
                  <a:rPr lang="it-IT" sz="1300" dirty="0" smtClean="0">
                    <a:cs typeface="Arial" panose="020B0604020202020204" pitchFamily="34" charset="0"/>
                  </a:rPr>
                  <a:t> delle Aziende dichiaranti</a:t>
                </a:r>
                <a:endParaRPr lang="it-IT" sz="1300" dirty="0">
                  <a:cs typeface="Arial" panose="020B0604020202020204" pitchFamily="34" charset="0"/>
                </a:endParaRPr>
              </a:p>
              <a:p>
                <a:pPr algn="just"/>
                <a:endParaRPr lang="it-IT" sz="500" dirty="0">
                  <a:solidFill>
                    <a:srgbClr val="FF0000"/>
                  </a:solidFill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cs typeface="Arial" panose="020B0604020202020204" pitchFamily="34" charset="0"/>
                  </a:rPr>
                  <a:t>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70% </a:t>
                </a:r>
                <a:r>
                  <a:rPr lang="it-IT" sz="1300" dirty="0">
                    <a:cs typeface="Arial" panose="020B0604020202020204" pitchFamily="34" charset="0"/>
                  </a:rPr>
                  <a:t>è erogato su </a:t>
                </a:r>
                <a:r>
                  <a:rPr lang="it-IT" sz="1300" b="1" dirty="0">
                    <a:cs typeface="Arial" panose="020B0604020202020204" pitchFamily="34" charset="0"/>
                  </a:rPr>
                  <a:t>Banner </a:t>
                </a:r>
                <a:r>
                  <a:rPr lang="it-IT" sz="1300" dirty="0" smtClean="0">
                    <a:cs typeface="Arial" panose="020B0604020202020204" pitchFamily="34" charset="0"/>
                  </a:rPr>
                  <a:t>(74% ad agosto 2017) e 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25%</a:t>
                </a:r>
                <a:r>
                  <a:rPr lang="it-IT" sz="1300" dirty="0" smtClean="0">
                    <a:cs typeface="Arial" panose="020B0604020202020204" pitchFamily="34" charset="0"/>
                  </a:rPr>
                  <a:t> </a:t>
                </a:r>
                <a:r>
                  <a:rPr lang="it-IT" sz="1300" dirty="0">
                    <a:cs typeface="Arial" panose="020B0604020202020204" pitchFamily="34" charset="0"/>
                  </a:rPr>
                  <a:t>su </a:t>
                </a:r>
                <a:r>
                  <a:rPr lang="it-IT" sz="1300" b="1" dirty="0">
                    <a:cs typeface="Arial" panose="020B0604020202020204" pitchFamily="34" charset="0"/>
                  </a:rPr>
                  <a:t>Video</a:t>
                </a:r>
                <a:r>
                  <a:rPr lang="it-IT" sz="1300" dirty="0">
                    <a:cs typeface="Arial" panose="020B0604020202020204" pitchFamily="34" charset="0"/>
                  </a:rPr>
                  <a:t> </a:t>
                </a:r>
                <a:r>
                  <a:rPr lang="it-IT" sz="1300" dirty="0" smtClean="0">
                    <a:cs typeface="Arial" panose="020B0604020202020204" pitchFamily="34" charset="0"/>
                  </a:rPr>
                  <a:t>(18% ad agosto 2017)</a:t>
                </a:r>
                <a:endParaRPr lang="it-IT" sz="500" b="1" dirty="0">
                  <a:cs typeface="Arial" panose="020B0604020202020204" pitchFamily="34" charset="0"/>
                </a:endParaRPr>
              </a:p>
            </p:txBody>
          </p:sp>
          <p:sp>
            <p:nvSpPr>
              <p:cNvPr id="15" name="Rettangolo 14"/>
              <p:cNvSpPr/>
              <p:nvPr/>
            </p:nvSpPr>
            <p:spPr>
              <a:xfrm>
                <a:off x="7592918" y="519054"/>
                <a:ext cx="4536000" cy="2376000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endParaRPr lang="it-IT" sz="13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13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aphicFrame>
          <p:nvGraphicFramePr>
            <p:cNvPr id="13" name="Grafico 1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38444552"/>
                </p:ext>
              </p:extLst>
            </p:nvPr>
          </p:nvGraphicFramePr>
          <p:xfrm>
            <a:off x="7498789" y="701318"/>
            <a:ext cx="4469008" cy="267755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742917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211580" y="45607"/>
            <a:ext cx="9768840" cy="438427"/>
          </a:xfrm>
        </p:spPr>
        <p:txBody>
          <a:bodyPr/>
          <a:lstStyle/>
          <a:p>
            <a:r>
              <a:rPr lang="it-IT" i="1" dirty="0"/>
              <a:t>INVESTIMENTI PUBBLICITARI in </a:t>
            </a:r>
            <a:r>
              <a:rPr lang="it-IT" i="1" dirty="0" smtClean="0"/>
              <a:t>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352017"/>
              </p:ext>
            </p:extLst>
          </p:nvPr>
        </p:nvGraphicFramePr>
        <p:xfrm>
          <a:off x="336885" y="834190"/>
          <a:ext cx="8106855" cy="5530661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2669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86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4295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2136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2136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2136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6808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3701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3046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9893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46880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42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2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2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9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4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6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18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6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77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7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2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1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4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3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2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4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4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32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5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1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4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2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1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6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17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05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3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371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3.9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5.96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2.45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82.33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5</a:t>
            </a:fld>
            <a:endParaRPr lang="en-US" sz="1000" dirty="0"/>
          </a:p>
        </p:txBody>
      </p:sp>
      <p:grpSp>
        <p:nvGrpSpPr>
          <p:cNvPr id="3" name="Gruppo 2"/>
          <p:cNvGrpSpPr/>
          <p:nvPr/>
        </p:nvGrpSpPr>
        <p:grpSpPr>
          <a:xfrm>
            <a:off x="8648759" y="838840"/>
            <a:ext cx="3184651" cy="5794861"/>
            <a:chOff x="8648759" y="838840"/>
            <a:chExt cx="3184651" cy="5794861"/>
          </a:xfrm>
        </p:grpSpPr>
        <p:sp>
          <p:nvSpPr>
            <p:cNvPr id="8" name="Rettangolo 7"/>
            <p:cNvSpPr/>
            <p:nvPr/>
          </p:nvSpPr>
          <p:spPr>
            <a:xfrm>
              <a:off x="8648759" y="3771409"/>
              <a:ext cx="3173792" cy="1172217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r>
                <a:rPr lang="it-IT" sz="13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RESSION</a:t>
              </a: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 algn="just">
                <a:buFont typeface="Wingdings" panose="05000000000000000000" pitchFamily="2" charset="2"/>
                <a:buChar char="ü"/>
              </a:pPr>
              <a:endParaRPr lang="it-IT" sz="500" dirty="0" smtClean="0">
                <a:solidFill>
                  <a:srgbClr val="FF0000"/>
                </a:solidFill>
                <a:cs typeface="Arial" panose="020B0604020202020204" pitchFamily="34" charset="0"/>
              </a:endParaRPr>
            </a:p>
            <a:p>
              <a:pPr algn="just"/>
              <a:r>
                <a:rPr lang="it-IT" sz="1300" dirty="0" smtClean="0">
                  <a:cs typeface="Arial" panose="020B0604020202020204" pitchFamily="34" charset="0"/>
                </a:rPr>
                <a:t>Il </a:t>
              </a:r>
              <a:r>
                <a:rPr lang="it-IT" sz="1300" b="1" dirty="0" smtClean="0">
                  <a:cs typeface="Arial" panose="020B0604020202020204" pitchFamily="34" charset="0"/>
                </a:rPr>
                <a:t>56% </a:t>
              </a:r>
              <a:r>
                <a:rPr lang="it-IT" sz="1300" dirty="0" smtClean="0">
                  <a:cs typeface="Arial" panose="020B0604020202020204" pitchFamily="34" charset="0"/>
                </a:rPr>
                <a:t>delle </a:t>
              </a:r>
              <a:r>
                <a:rPr lang="it-IT" sz="1300" dirty="0">
                  <a:cs typeface="Arial" panose="020B0604020202020204" pitchFamily="34" charset="0"/>
                </a:rPr>
                <a:t>Concessionarie dichiara un</a:t>
              </a:r>
              <a:r>
                <a:rPr lang="it-IT" sz="1300" b="1" dirty="0">
                  <a:cs typeface="Arial" panose="020B0604020202020204" pitchFamily="34" charset="0"/>
                </a:rPr>
                <a:t> dato </a:t>
              </a:r>
              <a:r>
                <a:rPr lang="it-IT" sz="1300" b="1" dirty="0" smtClean="0">
                  <a:cs typeface="Arial" panose="020B0604020202020204" pitchFamily="34" charset="0"/>
                </a:rPr>
                <a:t>più basso rispetto allo stesso mese dell’anno precedente</a:t>
              </a:r>
              <a:endParaRPr lang="it-IT" sz="500" dirty="0" smtClean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9" name="Rettangolo 8"/>
            <p:cNvSpPr/>
            <p:nvPr/>
          </p:nvSpPr>
          <p:spPr>
            <a:xfrm>
              <a:off x="8659618" y="5045986"/>
              <a:ext cx="3173792" cy="1587715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r>
                <a:rPr lang="it-IT" sz="14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FORMANCE</a:t>
              </a:r>
            </a:p>
            <a:p>
              <a:pPr algn="just"/>
              <a:endParaRPr lang="it-IT" sz="500" b="1" dirty="0" smtClean="0">
                <a:solidFill>
                  <a:srgbClr val="FF0000"/>
                </a:solidFill>
                <a:latin typeface="+mj-lt"/>
                <a:cs typeface="Arial" panose="020B0604020202020204" pitchFamily="34" charset="0"/>
              </a:endParaRPr>
            </a:p>
            <a:p>
              <a:pPr algn="just"/>
              <a:endParaRPr lang="it-IT" sz="500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endParaRPr>
            </a:p>
            <a:p>
              <a:pPr algn="just"/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Cala il venduto su </a:t>
              </a:r>
              <a:r>
                <a:rPr lang="it-IT" sz="1300" b="1" dirty="0" smtClean="0">
                  <a:latin typeface="+mj-lt"/>
                  <a:cs typeface="Arial" panose="020B0604020202020204" pitchFamily="34" charset="0"/>
                </a:rPr>
                <a:t>Desktop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 (</a:t>
              </a:r>
              <a:r>
                <a:rPr lang="it-IT" sz="1300" b="1" dirty="0" smtClean="0">
                  <a:latin typeface="+mj-lt"/>
                  <a:cs typeface="Arial" panose="020B0604020202020204" pitchFamily="34" charset="0"/>
                </a:rPr>
                <a:t>82%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 ad agosto 2018 verso l’</a:t>
              </a:r>
              <a:r>
                <a:rPr lang="it-IT" sz="1300" b="1" dirty="0" smtClean="0">
                  <a:latin typeface="+mj-lt"/>
                  <a:cs typeface="Arial" panose="020B0604020202020204" pitchFamily="34" charset="0"/>
                </a:rPr>
                <a:t>83%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 ad agosto 2017). In crescita invece il Native erogato su </a:t>
              </a:r>
              <a:r>
                <a:rPr lang="it-IT" sz="1300" dirty="0" err="1" smtClean="0">
                  <a:latin typeface="+mj-lt"/>
                  <a:cs typeface="Arial" panose="020B0604020202020204" pitchFamily="34" charset="0"/>
                </a:rPr>
                <a:t>Browsing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 (</a:t>
              </a:r>
              <a:r>
                <a:rPr lang="it-IT" sz="1300" b="1" dirty="0" smtClean="0">
                  <a:latin typeface="+mj-lt"/>
                  <a:cs typeface="Arial" panose="020B0604020202020204" pitchFamily="34" charset="0"/>
                </a:rPr>
                <a:t>60% 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nel 2018 verso il </a:t>
              </a:r>
              <a:r>
                <a:rPr lang="it-IT" sz="1300" b="1" dirty="0" smtClean="0">
                  <a:latin typeface="+mj-lt"/>
                  <a:cs typeface="Arial" panose="020B0604020202020204" pitchFamily="34" charset="0"/>
                </a:rPr>
                <a:t>52%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 del 2017)</a:t>
              </a:r>
            </a:p>
          </p:txBody>
        </p:sp>
        <p:sp>
          <p:nvSpPr>
            <p:cNvPr id="7" name="Rettangolo 6"/>
            <p:cNvSpPr/>
            <p:nvPr/>
          </p:nvSpPr>
          <p:spPr>
            <a:xfrm>
              <a:off x="8654551" y="838840"/>
              <a:ext cx="3168000" cy="2808000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endParaRPr lang="it-IT" sz="13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12" name="Grafico 1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011106874"/>
                </p:ext>
              </p:extLst>
            </p:nvPr>
          </p:nvGraphicFramePr>
          <p:xfrm>
            <a:off x="8659619" y="856320"/>
            <a:ext cx="3162932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 smtClean="0"/>
              <a:t>Trend STORICO modalità di vendita</a:t>
            </a:r>
          </a:p>
        </p:txBody>
      </p:sp>
      <p:sp>
        <p:nvSpPr>
          <p:cNvPr id="3" name="Rettangolo 2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</a:t>
            </a:r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modalità d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vendita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363071" y="6246502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 % 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6</a:t>
            </a:fld>
            <a:endParaRPr lang="en-US" sz="1000" dirty="0"/>
          </a:p>
        </p:txBody>
      </p:sp>
      <p:graphicFrame>
        <p:nvGraphicFramePr>
          <p:cNvPr id="13" name="Gra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0106412"/>
              </p:ext>
            </p:extLst>
          </p:nvPr>
        </p:nvGraphicFramePr>
        <p:xfrm>
          <a:off x="637716" y="1577672"/>
          <a:ext cx="5826584" cy="4329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7" name="Gruppo 6"/>
          <p:cNvGrpSpPr/>
          <p:nvPr/>
        </p:nvGrpSpPr>
        <p:grpSpPr>
          <a:xfrm>
            <a:off x="6906317" y="1025882"/>
            <a:ext cx="4680000" cy="4881743"/>
            <a:chOff x="6906317" y="1025882"/>
            <a:chExt cx="4680000" cy="4881743"/>
          </a:xfrm>
        </p:grpSpPr>
        <p:sp>
          <p:nvSpPr>
            <p:cNvPr id="15" name="Rettangolo 14"/>
            <p:cNvSpPr/>
            <p:nvPr/>
          </p:nvSpPr>
          <p:spPr>
            <a:xfrm>
              <a:off x="6906317" y="1025882"/>
              <a:ext cx="4680000" cy="4881743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aphicFrame>
          <p:nvGraphicFramePr>
            <p:cNvPr id="12" name="Grafico 1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774891216"/>
                </p:ext>
              </p:extLst>
            </p:nvPr>
          </p:nvGraphicFramePr>
          <p:xfrm>
            <a:off x="6906317" y="1577672"/>
            <a:ext cx="4597077" cy="40062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5" name="Rettangolo 4"/>
            <p:cNvSpPr/>
            <p:nvPr/>
          </p:nvSpPr>
          <p:spPr>
            <a:xfrm>
              <a:off x="7578670" y="5556423"/>
              <a:ext cx="352860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t-IT" sz="1000" b="1" i="1" dirty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</a:rPr>
                <a:t>I dati sono consultabili alla Tavola IV del report</a:t>
              </a:r>
              <a:endPara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0772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3" grpId="0" build="p"/>
      <p:bldP spid="6" grpId="0" build="p"/>
      <p:bldGraphic spid="13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650319" y="-1308"/>
            <a:ext cx="8891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1061158"/>
              </p:ext>
            </p:extLst>
          </p:nvPr>
        </p:nvGraphicFramePr>
        <p:xfrm>
          <a:off x="173823" y="401241"/>
          <a:ext cx="11844354" cy="484658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5455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07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293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6307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559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2937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2937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2937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2937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4981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76916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62328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66307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64981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707274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116842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623286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689595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</a:tblGrid>
              <a:tr h="50717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DI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 MKT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83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5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12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9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98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2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3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4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1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6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2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9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8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3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7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7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4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4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9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2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4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3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3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74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5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96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4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8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1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1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42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1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5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5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6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7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4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1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8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371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81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69.54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2.56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4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.06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.29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3.69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6.02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82.33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7</a:t>
            </a:fld>
            <a:endParaRPr lang="en-US" sz="1000" dirty="0"/>
          </a:p>
        </p:txBody>
      </p:sp>
      <p:sp>
        <p:nvSpPr>
          <p:cNvPr id="9" name="Rettangolo 8"/>
          <p:cNvSpPr/>
          <p:nvPr/>
        </p:nvSpPr>
        <p:spPr>
          <a:xfrm>
            <a:off x="403413" y="5327515"/>
            <a:ext cx="3619768" cy="1473086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NER</a:t>
            </a:r>
          </a:p>
          <a:p>
            <a:pPr algn="just"/>
            <a:r>
              <a:rPr lang="it-IT" sz="1300" dirty="0" smtClean="0">
                <a:cs typeface="Arial" panose="020B0604020202020204" pitchFamily="34" charset="0"/>
              </a:rPr>
              <a:t>Ad agosto il </a:t>
            </a:r>
            <a:r>
              <a:rPr lang="it-IT" sz="1300" b="1" dirty="0" smtClean="0">
                <a:cs typeface="Arial" panose="020B0604020202020204" pitchFamily="34" charset="0"/>
              </a:rPr>
              <a:t>65%</a:t>
            </a:r>
            <a:r>
              <a:rPr lang="it-IT" sz="1300" dirty="0" smtClean="0">
                <a:cs typeface="Arial" panose="020B0604020202020204" pitchFamily="34" charset="0"/>
              </a:rPr>
              <a:t> degli investimenti è erogato su Banner (in linea con Agosto 2017). Cala l’erogato su </a:t>
            </a:r>
            <a:r>
              <a:rPr lang="it-IT" sz="1300" b="1" dirty="0" smtClean="0">
                <a:cs typeface="Arial" panose="020B0604020202020204" pitchFamily="34" charset="0"/>
              </a:rPr>
              <a:t>Desktop/Tablet</a:t>
            </a:r>
            <a:r>
              <a:rPr lang="it-IT" sz="1300" dirty="0" smtClean="0">
                <a:cs typeface="Arial" panose="020B0604020202020204" pitchFamily="34" charset="0"/>
              </a:rPr>
              <a:t> (</a:t>
            </a:r>
            <a:r>
              <a:rPr lang="it-IT" sz="1300" b="1" dirty="0" smtClean="0">
                <a:cs typeface="Arial" panose="020B0604020202020204" pitchFamily="34" charset="0"/>
              </a:rPr>
              <a:t>65%</a:t>
            </a:r>
            <a:r>
              <a:rPr lang="it-IT" sz="1300" dirty="0" smtClean="0">
                <a:cs typeface="Arial" panose="020B0604020202020204" pitchFamily="34" charset="0"/>
              </a:rPr>
              <a:t> ad agosto 2018 verso il </a:t>
            </a:r>
            <a:r>
              <a:rPr lang="it-IT" sz="1300" b="1" dirty="0" smtClean="0">
                <a:cs typeface="Arial" panose="020B0604020202020204" pitchFamily="34" charset="0"/>
              </a:rPr>
              <a:t>73%</a:t>
            </a:r>
            <a:r>
              <a:rPr lang="it-IT" sz="1300" dirty="0" smtClean="0">
                <a:cs typeface="Arial" panose="020B0604020202020204" pitchFamily="34" charset="0"/>
              </a:rPr>
              <a:t> ad agosto 2017), a favore di </a:t>
            </a:r>
            <a:r>
              <a:rPr lang="it-IT" sz="1300" b="1" dirty="0" smtClean="0">
                <a:cs typeface="Arial" panose="020B0604020202020204" pitchFamily="34" charset="0"/>
              </a:rPr>
              <a:t>Smartphone</a:t>
            </a:r>
            <a:r>
              <a:rPr lang="it-IT" sz="1300" dirty="0" smtClean="0">
                <a:cs typeface="Arial" panose="020B0604020202020204" pitchFamily="34" charset="0"/>
              </a:rPr>
              <a:t> (</a:t>
            </a:r>
            <a:r>
              <a:rPr lang="it-IT" sz="1300" b="1" dirty="0" smtClean="0">
                <a:cs typeface="Arial" panose="020B0604020202020204" pitchFamily="34" charset="0"/>
              </a:rPr>
              <a:t>35% </a:t>
            </a:r>
            <a:r>
              <a:rPr lang="it-IT" sz="1300" dirty="0" smtClean="0">
                <a:cs typeface="Arial" panose="020B0604020202020204" pitchFamily="34" charset="0"/>
              </a:rPr>
              <a:t>ad agosto 2018 verso il </a:t>
            </a:r>
            <a:r>
              <a:rPr lang="it-IT" sz="1300" b="1" dirty="0" smtClean="0">
                <a:cs typeface="Arial" panose="020B0604020202020204" pitchFamily="34" charset="0"/>
              </a:rPr>
              <a:t>27%</a:t>
            </a:r>
            <a:r>
              <a:rPr lang="it-IT" sz="1300" dirty="0" smtClean="0">
                <a:cs typeface="Arial" panose="020B0604020202020204" pitchFamily="34" charset="0"/>
              </a:rPr>
              <a:t> ad agosto 2017).</a:t>
            </a:r>
            <a:endParaRPr lang="it-IT" sz="3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4199926" y="5329968"/>
            <a:ext cx="3814520" cy="14724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</a:t>
            </a:r>
          </a:p>
          <a:p>
            <a:pPr algn="just"/>
            <a:r>
              <a:rPr lang="it-IT" sz="1300" dirty="0" smtClean="0">
                <a:cs typeface="Arial" panose="020B0604020202020204" pitchFamily="34" charset="0"/>
              </a:rPr>
              <a:t>Ad agosto rappresenta il </a:t>
            </a:r>
            <a:r>
              <a:rPr lang="it-IT" sz="1300" b="1" dirty="0" smtClean="0">
                <a:cs typeface="Arial" panose="020B0604020202020204" pitchFamily="34" charset="0"/>
              </a:rPr>
              <a:t>18% </a:t>
            </a:r>
            <a:r>
              <a:rPr lang="it-IT" sz="1300" dirty="0" smtClean="0">
                <a:cs typeface="Arial" panose="020B0604020202020204" pitchFamily="34" charset="0"/>
              </a:rPr>
              <a:t>degli investimenti pubblicitari totali, stabile rispetto al 2017.</a:t>
            </a:r>
          </a:p>
          <a:p>
            <a:pPr algn="just"/>
            <a:endParaRPr lang="it-IT" sz="300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algn="just"/>
            <a:r>
              <a:rPr lang="it-IT" sz="1300" dirty="0" smtClean="0">
                <a:cs typeface="Arial" panose="020B0604020202020204" pitchFamily="34" charset="0"/>
              </a:rPr>
              <a:t>Cresce l’erogato su </a:t>
            </a:r>
            <a:r>
              <a:rPr lang="it-IT" sz="1300" b="1" dirty="0" smtClean="0">
                <a:cs typeface="Arial" panose="020B0604020202020204" pitchFamily="34" charset="0"/>
              </a:rPr>
              <a:t>Smartphone</a:t>
            </a:r>
            <a:r>
              <a:rPr lang="it-IT" sz="1300" dirty="0" smtClean="0">
                <a:cs typeface="Arial" panose="020B0604020202020204" pitchFamily="34" charset="0"/>
              </a:rPr>
              <a:t> (20% ad agosto 2018 verso il 16% di agosto 2017) a scapito dell’erogato su </a:t>
            </a:r>
            <a:r>
              <a:rPr lang="it-IT" sz="1300" b="1" dirty="0" smtClean="0">
                <a:cs typeface="Arial" panose="020B0604020202020204" pitchFamily="34" charset="0"/>
              </a:rPr>
              <a:t>Desktop/Tablet.</a:t>
            </a:r>
            <a:endParaRPr lang="it-IT" sz="1300" b="1" dirty="0"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8164297" y="5327515"/>
            <a:ext cx="3600000" cy="1473086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RE TIPOLOGIE</a:t>
            </a:r>
            <a:endParaRPr lang="it-IT" sz="13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300" dirty="0" smtClean="0">
                <a:cs typeface="Arial" panose="020B0604020202020204" pitchFamily="34" charset="0"/>
              </a:rPr>
              <a:t>Ad agosto 2018 </a:t>
            </a:r>
            <a:r>
              <a:rPr lang="it-IT" sz="1300" dirty="0">
                <a:cs typeface="Arial" panose="020B0604020202020204" pitchFamily="34" charset="0"/>
              </a:rPr>
              <a:t>r</a:t>
            </a:r>
            <a:r>
              <a:rPr lang="it-IT" sz="1300" dirty="0" smtClean="0">
                <a:cs typeface="Arial" panose="020B0604020202020204" pitchFamily="34" charset="0"/>
              </a:rPr>
              <a:t>appresenta poco meno del </a:t>
            </a:r>
            <a:r>
              <a:rPr lang="it-IT" sz="1300" b="1" dirty="0" smtClean="0">
                <a:cs typeface="Arial" panose="020B0604020202020204" pitchFamily="34" charset="0"/>
              </a:rPr>
              <a:t>5%</a:t>
            </a:r>
            <a:r>
              <a:rPr lang="it-IT" sz="1300" dirty="0" smtClean="0">
                <a:cs typeface="Arial" panose="020B0604020202020204" pitchFamily="34" charset="0"/>
              </a:rPr>
              <a:t> </a:t>
            </a:r>
            <a:r>
              <a:rPr lang="it-IT" sz="1300" dirty="0">
                <a:cs typeface="Arial" panose="020B0604020202020204" pitchFamily="34" charset="0"/>
              </a:rPr>
              <a:t>del totale </a:t>
            </a:r>
            <a:r>
              <a:rPr lang="it-IT" sz="1300" dirty="0" smtClean="0">
                <a:cs typeface="Arial" panose="020B0604020202020204" pitchFamily="34" charset="0"/>
              </a:rPr>
              <a:t>investimenti, in calo rispetto al precedente anno (circa 6% ad agosto 2017). </a:t>
            </a:r>
          </a:p>
          <a:p>
            <a:pPr algn="just"/>
            <a:r>
              <a:rPr lang="it-IT" sz="1300" dirty="0" smtClean="0">
                <a:cs typeface="Arial" panose="020B0604020202020204" pitchFamily="34" charset="0"/>
              </a:rPr>
              <a:t>L’andamento </a:t>
            </a:r>
            <a:r>
              <a:rPr lang="it-IT" sz="1300" dirty="0">
                <a:cs typeface="Arial" panose="020B0604020202020204" pitchFamily="34" charset="0"/>
              </a:rPr>
              <a:t>risulta particolarmente </a:t>
            </a:r>
            <a:r>
              <a:rPr lang="it-IT" sz="1300" dirty="0" smtClean="0">
                <a:cs typeface="Arial" panose="020B0604020202020204" pitchFamily="34" charset="0"/>
              </a:rPr>
              <a:t>negativo per </a:t>
            </a:r>
            <a:r>
              <a:rPr lang="it-IT" sz="1300" dirty="0">
                <a:cs typeface="Arial" panose="020B0604020202020204" pitchFamily="34" charset="0"/>
              </a:rPr>
              <a:t>Desktop/Tablet </a:t>
            </a:r>
            <a:r>
              <a:rPr lang="it-IT" sz="1300" dirty="0" smtClean="0">
                <a:cs typeface="Arial" panose="020B0604020202020204" pitchFamily="34" charset="0"/>
              </a:rPr>
              <a:t>e Smartphone fruiti </a:t>
            </a:r>
            <a:r>
              <a:rPr lang="it-IT" sz="1300" dirty="0">
                <a:cs typeface="Arial" panose="020B0604020202020204" pitchFamily="34" charset="0"/>
              </a:rPr>
              <a:t>tramite </a:t>
            </a:r>
            <a:r>
              <a:rPr lang="it-IT" sz="1300" dirty="0" err="1" smtClean="0">
                <a:cs typeface="Arial" panose="020B0604020202020204" pitchFamily="34" charset="0"/>
              </a:rPr>
              <a:t>Browsing</a:t>
            </a:r>
            <a:r>
              <a:rPr lang="it-IT" sz="1300" dirty="0" smtClean="0">
                <a:cs typeface="Arial" panose="020B0604020202020204" pitchFamily="34" charset="0"/>
              </a:rPr>
              <a:t>.</a:t>
            </a:r>
            <a:endParaRPr lang="it-IT" sz="13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 animBg="1"/>
      <p:bldP spid="11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737276" y="155354"/>
            <a:ext cx="8717449" cy="438427"/>
          </a:xfrm>
        </p:spPr>
        <p:txBody>
          <a:bodyPr/>
          <a:lstStyle/>
          <a:p>
            <a:r>
              <a:rPr lang="it-IT" altLang="it-IT" sz="1400" i="1" dirty="0" smtClean="0"/>
              <a:t>INVESTIMENTI PUBBLICITARI VIDEO </a:t>
            </a:r>
            <a:r>
              <a:rPr lang="it-IT" altLang="it-IT" sz="1400" i="1" dirty="0"/>
              <a:t>per mese </a:t>
            </a:r>
            <a:r>
              <a:rPr lang="it-IT" altLang="it-IT" sz="1400" i="1" dirty="0" smtClean="0"/>
              <a:t>e progressivo AD AGOSTO 2018 </a:t>
            </a:r>
            <a:r>
              <a:rPr lang="it-IT" altLang="it-IT" sz="1400" i="1" dirty="0"/>
              <a:t>in valore assoluto e percentuale suddiviso per le </a:t>
            </a:r>
            <a:r>
              <a:rPr lang="it-IT" altLang="it-IT" sz="1400" i="1" dirty="0" smtClean="0"/>
              <a:t>TRE tipologie video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1902225"/>
              </p:ext>
            </p:extLst>
          </p:nvPr>
        </p:nvGraphicFramePr>
        <p:xfrm>
          <a:off x="657899" y="857756"/>
          <a:ext cx="10876202" cy="551402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4364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4193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82510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809823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809823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247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170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144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4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1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0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6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2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9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8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9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0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1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6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2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35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1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53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1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0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4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105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0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464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7.21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.47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1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86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3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2.56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5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6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8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smtClean="0"/>
              <a:t>Trend STORICO DEL FATTURATO VIDEO  suddiviso per tipologia</a:t>
            </a:r>
            <a:endParaRPr lang="it-IT" sz="1400" i="1" dirty="0">
              <a:solidFill>
                <a:srgbClr val="FF0000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349624" y="6086344"/>
            <a:ext cx="107442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%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b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</a:br>
            <a:endParaRPr lang="it-IT" sz="700" i="1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  <a:p>
            <a:r>
              <a:rPr lang="it-IT" sz="100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 </a:t>
            </a:r>
            <a:r>
              <a:rPr lang="it-IT" sz="100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ati </a:t>
            </a:r>
            <a:r>
              <a:rPr lang="it-IT" sz="100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sono consultabili alla Tavola </a:t>
            </a:r>
            <a:r>
              <a:rPr lang="it-IT" sz="100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VIII </a:t>
            </a:r>
            <a:r>
              <a:rPr lang="it-IT" sz="100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el report</a:t>
            </a:r>
          </a:p>
        </p:txBody>
      </p:sp>
      <p:sp>
        <p:nvSpPr>
          <p:cNvPr id="13" name="Segnaposto numero diapositiva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9</a:t>
            </a:fld>
            <a:endParaRPr lang="en-US" sz="1000" dirty="0"/>
          </a:p>
        </p:txBody>
      </p:sp>
      <p:sp>
        <p:nvSpPr>
          <p:cNvPr id="20" name="Rettangolo 19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tipologia video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graphicFrame>
        <p:nvGraphicFramePr>
          <p:cNvPr id="16" name="Gra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0754579"/>
              </p:ext>
            </p:extLst>
          </p:nvPr>
        </p:nvGraphicFramePr>
        <p:xfrm>
          <a:off x="703635" y="1454055"/>
          <a:ext cx="5629930" cy="438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6" name="Gruppo 5"/>
          <p:cNvGrpSpPr/>
          <p:nvPr/>
        </p:nvGrpSpPr>
        <p:grpSpPr>
          <a:xfrm>
            <a:off x="6333566" y="980426"/>
            <a:ext cx="5127812" cy="4881743"/>
            <a:chOff x="6333566" y="980426"/>
            <a:chExt cx="5127812" cy="4881743"/>
          </a:xfrm>
        </p:grpSpPr>
        <p:sp>
          <p:nvSpPr>
            <p:cNvPr id="18" name="Rettangolo 17"/>
            <p:cNvSpPr/>
            <p:nvPr/>
          </p:nvSpPr>
          <p:spPr>
            <a:xfrm>
              <a:off x="6535271" y="980426"/>
              <a:ext cx="4926106" cy="4881743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aphicFrame>
          <p:nvGraphicFramePr>
            <p:cNvPr id="11" name="Grafico 1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97997852"/>
                </p:ext>
              </p:extLst>
            </p:nvPr>
          </p:nvGraphicFramePr>
          <p:xfrm>
            <a:off x="6333566" y="1454055"/>
            <a:ext cx="5127812" cy="42743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152586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/>
      <p:bldP spid="20" grpId="0" build="p"/>
      <p:bldGraphic spid="16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11837</TotalTime>
  <Words>2548</Words>
  <Application>Microsoft Office PowerPoint</Application>
  <PresentationFormat>Widescreen</PresentationFormat>
  <Paragraphs>1515</Paragraphs>
  <Slides>14</Slides>
  <Notes>1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4" baseType="lpstr">
      <vt:lpstr>Arial</vt:lpstr>
      <vt:lpstr>Arial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elvaggi Laura</cp:lastModifiedBy>
  <cp:revision>464</cp:revision>
  <cp:lastPrinted>2018-09-25T07:18:40Z</cp:lastPrinted>
  <dcterms:created xsi:type="dcterms:W3CDTF">2017-09-15T07:09:01Z</dcterms:created>
  <dcterms:modified xsi:type="dcterms:W3CDTF">2018-09-25T10:33:26Z</dcterms:modified>
  <cp:category/>
</cp:coreProperties>
</file>